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91" r:id="rId3"/>
    <p:sldId id="1831" r:id="rId4"/>
    <p:sldId id="1822" r:id="rId5"/>
    <p:sldId id="1833" r:id="rId6"/>
    <p:sldId id="1832" r:id="rId7"/>
    <p:sldId id="1834" r:id="rId8"/>
    <p:sldId id="1810" r:id="rId9"/>
    <p:sldId id="1835" r:id="rId10"/>
    <p:sldId id="1839" r:id="rId11"/>
    <p:sldId id="1824" r:id="rId12"/>
    <p:sldId id="1837" r:id="rId13"/>
    <p:sldId id="1830" r:id="rId14"/>
    <p:sldId id="261" r:id="rId15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0012"/>
    <a:srgbClr val="ECEFF4"/>
    <a:srgbClr val="2B2F3B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757" autoAdjust="0"/>
    <p:restoredTop sz="82694" autoAdjust="0"/>
  </p:normalViewPr>
  <p:slideViewPr>
    <p:cSldViewPr snapToGrid="0">
      <p:cViewPr varScale="1">
        <p:scale>
          <a:sx n="100" d="100"/>
          <a:sy n="100" d="100"/>
        </p:scale>
        <p:origin x="109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2022 TKDE </a:t>
            </a:r>
            <a:r>
              <a:rPr lang="zh-CN" altLang="en-US" dirty="0"/>
              <a:t>中国科学院大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21814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/o fusion</a:t>
            </a:r>
            <a:r>
              <a:rPr lang="zh-CN" altLang="en-US" dirty="0"/>
              <a:t>去除了多模态共享以及多模态独特信息只使用</a:t>
            </a:r>
            <a:r>
              <a:rPr lang="en-US" altLang="zh-CN" dirty="0"/>
              <a:t>BPR</a:t>
            </a:r>
            <a:r>
              <a:rPr lang="zh-CN" altLang="en-US" dirty="0"/>
              <a:t>损失进行训练，可以看到效果在冷启动实验中收到了一定影响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4873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50" dirty="0"/>
              <a:t>+feats</a:t>
            </a:r>
            <a:r>
              <a:rPr lang="zh-CN" altLang="en-US" sz="1050" dirty="0"/>
              <a:t>表示不考虑潜在物品之间关系，直接使用</a:t>
            </a:r>
            <a:r>
              <a:rPr lang="zh-CN" altLang="en-US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转换后的多模态特征来替代从物品图中学习到的物品表示。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feats</a:t>
            </a:r>
            <a:r>
              <a:rPr lang="zh-CN" altLang="en-US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表示采用多模态特征代替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ID</a:t>
            </a:r>
            <a:r>
              <a:rPr lang="zh-CN" altLang="en-US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嵌入作为图卷积的输入初始项嵌入。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w/o. </a:t>
            </a:r>
            <a:r>
              <a:rPr lang="en-US" altLang="zh-CN" sz="1400" b="0" i="0" dirty="0" err="1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pecifc</a:t>
            </a:r>
            <a:r>
              <a:rPr lang="zh-CN" altLang="en-US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表示去除模态独特信息提取以及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ls</a:t>
            </a:r>
            <a:r>
              <a:rPr lang="zh-CN" altLang="en-US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损失函数。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w/o. preference</a:t>
            </a:r>
            <a:r>
              <a:rPr lang="zh-CN" altLang="en-US" sz="1400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表示去除最后用户聚合物品部分</a:t>
            </a:r>
            <a:endParaRPr lang="en-US" altLang="zh-CN" sz="105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61622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dirty="0"/>
              <a:t>邻居选取数量</a:t>
            </a:r>
            <a:r>
              <a:rPr lang="en-US" altLang="zh-CN" sz="1050" dirty="0"/>
              <a:t>K</a:t>
            </a:r>
            <a:r>
              <a:rPr lang="zh-CN" altLang="en-US" sz="1050" dirty="0"/>
              <a:t>值在</a:t>
            </a:r>
            <a:r>
              <a:rPr lang="en-US" altLang="zh-CN" sz="1050" dirty="0"/>
              <a:t>10</a:t>
            </a:r>
            <a:r>
              <a:rPr lang="zh-CN" altLang="en-US" sz="1050" dirty="0"/>
              <a:t>处为最佳，可能由于过少会引起信息不足，过多会引入多余噪声导致。</a:t>
            </a:r>
            <a:r>
              <a:rPr lang="en-US" altLang="zh-CN" sz="1050" dirty="0" err="1"/>
              <a:t>Lamu</a:t>
            </a:r>
            <a:r>
              <a:rPr lang="zh-CN" altLang="en-US" sz="1050" dirty="0"/>
              <a:t>在三个数据集中表现不一，这可能是由于不同模态对不同物品的重要性不同导致，图卷积层数在</a:t>
            </a:r>
            <a:r>
              <a:rPr lang="en-US" altLang="zh-CN" sz="1050" dirty="0"/>
              <a:t>1-2</a:t>
            </a:r>
            <a:r>
              <a:rPr lang="zh-CN" altLang="en-US" sz="1050" dirty="0"/>
              <a:t>左右为最佳</a:t>
            </a:r>
            <a:endParaRPr lang="en-US" altLang="zh-CN" sz="105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62835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dirty="0"/>
              <a:t>根据上图表格可以看出文本模态的贡献更大</a:t>
            </a:r>
            <a:endParaRPr lang="en-US" altLang="zh-CN" sz="105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5482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以上图为例，现有的方法往往会短袖推荐给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u2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，这是由于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u1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u2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之间的关系，而无法将长袖进行推荐，而长袖在视觉模态上与短袖类似，这就导致其中许多潜在的语义关系被忽略了。用户在浏览不同物品时，关注的模态往往不同，如在选购衣物时，往往更注重视觉模态，而在选购书本时往往更注重文本模态，因此使用相同融合机制并不合理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7439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模型主要有四个关键组件构成，首先有一个模态感知结构学习层，它可以基于每个模态的内容特征学习模态感知结构，然后对学习到的模态感知潜在图执行图卷积，以明确地单独考虑每个模态的物品关系。再设计一个多模态对比框架来同时考虑模态共享与模态独特信息，最后与一个</a:t>
            </a:r>
            <a:r>
              <a:rPr lang="en-US" altLang="zh-CN" b="0" i="0" dirty="0" err="1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cf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模型计算的物品的嵌入表示进行结合来进行推荐。本模型可以缓解冷启动问题并可以很好地应用在其他模型中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7196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由于相似的物品之间更可能存在交互，因此这部分先选取了前</a:t>
            </a:r>
            <a:r>
              <a:rPr lang="en-US" altLang="zh-CN" dirty="0"/>
              <a:t>k</a:t>
            </a:r>
            <a:r>
              <a:rPr lang="zh-CN" altLang="en-US" dirty="0"/>
              <a:t>个相似度最大的物品作为邻居，普通图相对于全连接图往往是更稀疏，而且全连接图的计算将产生更多噪声和不重要的边，因此需要进行稀疏化，</a:t>
            </a:r>
            <a:r>
              <a:rPr lang="en-US" altLang="zh-CN" dirty="0"/>
              <a:t>~</a:t>
            </a:r>
            <a:r>
              <a:rPr lang="en-US" altLang="zh-CN" dirty="0" err="1"/>
              <a:t>Smij</a:t>
            </a:r>
            <a:r>
              <a:rPr lang="zh-CN" altLang="en-US" dirty="0"/>
              <a:t>保留前</a:t>
            </a:r>
            <a:r>
              <a:rPr lang="en-US" altLang="zh-CN" dirty="0"/>
              <a:t>k</a:t>
            </a:r>
            <a:r>
              <a:rPr lang="zh-CN" altLang="en-US" dirty="0"/>
              <a:t>个相似度较大邻居物品，并将其余交互置</a:t>
            </a:r>
            <a:r>
              <a:rPr lang="en-US" altLang="zh-CN" dirty="0"/>
              <a:t>0.</a:t>
            </a:r>
            <a:r>
              <a:rPr lang="zh-CN" altLang="en-US" dirty="0"/>
              <a:t>通过对邻接矩阵进行归一化来缓解梯度消失和梯度爆炸现象。由于由初始数据构成的图仍存在许多噪音，故突出使用转换过后的多模态特征动态学习图结构，并与初始结构跳连接。首先对每个初始物品进行线性变换，重复一遍邻居选择可以得到</a:t>
            </a:r>
            <a:r>
              <a:rPr lang="en-US" altLang="zh-CN" dirty="0"/>
              <a:t>~Am</a:t>
            </a:r>
            <a:r>
              <a:rPr lang="zh-CN" altLang="en-US" dirty="0"/>
              <a:t>，最后将</a:t>
            </a:r>
            <a:r>
              <a:rPr lang="en-US" altLang="zh-CN" dirty="0"/>
              <a:t>~</a:t>
            </a:r>
            <a:r>
              <a:rPr lang="en-US" altLang="zh-CN" dirty="0" err="1"/>
              <a:t>Sm</a:t>
            </a:r>
            <a:r>
              <a:rPr lang="zh-CN" altLang="en-US" dirty="0"/>
              <a:t>和</a:t>
            </a:r>
            <a:r>
              <a:rPr lang="en-US" altLang="zh-CN" dirty="0"/>
              <a:t>~Am</a:t>
            </a:r>
            <a:r>
              <a:rPr lang="zh-CN" altLang="en-US" dirty="0"/>
              <a:t>进行结合可以获得模态感知后的表征</a:t>
            </a:r>
            <a:r>
              <a:rPr lang="en-US" altLang="zh-CN" dirty="0"/>
              <a:t>Am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4896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通过加入图卷积，使得物品与物品之间的关系在嵌入过程中能得到更好的表示。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使用相同的物品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ID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嵌入矩阵来初始化输入嵌入矩阵。</a:t>
            </a:r>
            <a:r>
              <a:rPr lang="en-US" altLang="zh-CN" dirty="0" err="1"/>
              <a:t>Hml</a:t>
            </a:r>
            <a:r>
              <a:rPr lang="zh-CN" altLang="en-US" dirty="0"/>
              <a:t>是第</a:t>
            </a:r>
            <a:r>
              <a:rPr lang="en-US" altLang="zh-CN" dirty="0"/>
              <a:t>l</a:t>
            </a:r>
            <a:r>
              <a:rPr lang="zh-CN" altLang="en-US" dirty="0"/>
              <a:t>层嵌入矩阵，可以对高阶物品与物品关系进行编码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7566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为了获取不同模态对同一个物品的重要性，需要对不同模态下物品表征进行特征求和，使用注意力机制可以获取模态重要性</a:t>
            </a:r>
            <a:r>
              <a:rPr lang="en-US" altLang="zh-CN" dirty="0" err="1"/>
              <a:t>ami</a:t>
            </a:r>
            <a:r>
              <a:rPr lang="zh-CN" altLang="en-US" dirty="0"/>
              <a:t>，加权求和后可以获得新的物品表征。物品在某一模态中的表征与加入了模态共享信息的表征作为正样本，与加入了模态共享信息的其他物品表征，以及同一模态中的其他物品作为负样本提取共享信息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22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每个模态包含的独特信息对模型理解物品关系同样重要，使用不同模态原本表征</a:t>
            </a:r>
            <a:r>
              <a:rPr lang="en-US" altLang="zh-CN" dirty="0" err="1"/>
              <a:t>hvi</a:t>
            </a:r>
            <a:r>
              <a:rPr lang="zh-CN" altLang="en-US" dirty="0"/>
              <a:t>与加入共享信息的表征相减</a:t>
            </a:r>
            <a:r>
              <a:rPr lang="en-US" altLang="zh-CN" dirty="0" err="1"/>
              <a:t>hci</a:t>
            </a:r>
            <a:r>
              <a:rPr lang="zh-CN" altLang="en-US" dirty="0"/>
              <a:t>，再与</a:t>
            </a:r>
            <a:r>
              <a:rPr lang="en-US" altLang="zh-CN" dirty="0" err="1"/>
              <a:t>hci</a:t>
            </a:r>
            <a:r>
              <a:rPr lang="zh-CN" altLang="en-US" dirty="0"/>
              <a:t>做注意力机制求得权重，加权求和后可以获得最终加入模态独特信息的表征，同时为了确保模态独特信息不对模态之间进行相互编码，加入一个软性正交约束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4139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将与用户有交互的物品与本身进行聚合，输入一个如</a:t>
            </a:r>
            <a:r>
              <a:rPr lang="en-US" altLang="zh-CN" dirty="0"/>
              <a:t>MF</a:t>
            </a:r>
            <a:r>
              <a:rPr lang="zh-CN" altLang="en-US" dirty="0"/>
              <a:t>、</a:t>
            </a:r>
            <a:r>
              <a:rPr lang="en-US" altLang="zh-CN" dirty="0" err="1"/>
              <a:t>Lightgcn</a:t>
            </a:r>
            <a:r>
              <a:rPr lang="zh-CN" altLang="en-US" dirty="0"/>
              <a:t>的协同过滤模型进行训练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592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模型效果明显领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9661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ŝ1îḋè">
            <a:extLst>
              <a:ext uri="{FF2B5EF4-FFF2-40B4-BE49-F238E27FC236}">
                <a16:creationId xmlns:a16="http://schemas.microsoft.com/office/drawing/2014/main" id="{4F833D28-6FD6-4AC4-98F2-E6315EFE867C}"/>
              </a:ext>
            </a:extLst>
          </p:cNvPr>
          <p:cNvSpPr/>
          <p:nvPr userDrawn="1"/>
        </p:nvSpPr>
        <p:spPr>
          <a:xfrm>
            <a:off x="957897" y="612564"/>
            <a:ext cx="10276206" cy="5283834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0"/>
                  <a:lumOff val="100000"/>
                </a:schemeClr>
              </a:gs>
              <a:gs pos="35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pic>
        <p:nvPicPr>
          <p:cNvPr id="7" name="图片 6" descr="建筑的摆设布局&#10;&#10;描述已自动生成">
            <a:extLst>
              <a:ext uri="{FF2B5EF4-FFF2-40B4-BE49-F238E27FC236}">
                <a16:creationId xmlns:a16="http://schemas.microsoft.com/office/drawing/2014/main" id="{3B0DE106-49D5-40DC-A127-F11CBB1EA8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1"/>
          </a:xfrm>
          <a:prstGeom prst="rect">
            <a:avLst/>
          </a:prstGeom>
        </p:spPr>
      </p:pic>
      <p:pic>
        <p:nvPicPr>
          <p:cNvPr id="8" name="Picture 18_1" descr="建筑的摆设布局&#10;&#10;描述已自动生成">
            <a:extLst>
              <a:ext uri="{FF2B5EF4-FFF2-40B4-BE49-F238E27FC236}">
                <a16:creationId xmlns:a16="http://schemas.microsoft.com/office/drawing/2014/main" id="{8090DD69-BA70-4D36-9D99-CEF24E5B33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4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111215"/>
            <a:ext cx="10845800" cy="369332"/>
          </a:xfrm>
          <a:noFill/>
        </p:spPr>
        <p:txBody>
          <a:bodyPr wrap="square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lang="en-US" sz="2000" spc="600" dirty="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lvl="0" algn="ctr" defTabSz="914400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7"/>
            <a:ext cx="10845800" cy="1251248"/>
          </a:xfrm>
        </p:spPr>
        <p:txBody>
          <a:bodyPr vert="horz" lIns="91440" tIns="45720" rIns="91440" bIns="45720" rtlCol="0" anchor="b">
            <a:normAutofit/>
          </a:bodyPr>
          <a:lstStyle>
            <a:lvl1pPr marL="857250" indent="-857250" algn="ctr">
              <a:buFont typeface="Arial" panose="020B0604020202020204" pitchFamily="34" charset="0"/>
              <a:buNone/>
              <a:defRPr lang="zh-CN" altLang="en-US" sz="6000" u="sng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</a:lstStyle>
          <a:p>
            <a:pPr marL="0" lvl="0" indent="0" algn="ctr" fontAlgn="b"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9" name="图形 8">
            <a:extLst>
              <a:ext uri="{FF2B5EF4-FFF2-40B4-BE49-F238E27FC236}">
                <a16:creationId xmlns:a16="http://schemas.microsoft.com/office/drawing/2014/main" id="{09227143-1E9E-425A-A23B-0AEB11F481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77355" y="793283"/>
            <a:ext cx="2637290" cy="52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770213" y="389164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771329" y="478699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Picture 18_1" descr="建筑的摆设布局&#10;&#10;描述已自动生成">
            <a:extLst>
              <a:ext uri="{FF2B5EF4-FFF2-40B4-BE49-F238E27FC236}">
                <a16:creationId xmlns:a16="http://schemas.microsoft.com/office/drawing/2014/main" id="{13AE0335-D9D8-48F5-9DDA-99D77AB368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9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-276113"/>
            <a:ext cx="12192000" cy="3152134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7CAB11BE-F6D9-4EBA-9FBC-67140521B7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71729" y="5682344"/>
            <a:ext cx="2320690" cy="462232"/>
          </a:xfrm>
          <a:prstGeom prst="rect">
            <a:avLst/>
          </a:prstGeom>
        </p:spPr>
      </p:pic>
      <p:sp>
        <p:nvSpPr>
          <p:cNvPr id="6" name="î$ľîďê">
            <a:extLst>
              <a:ext uri="{FF2B5EF4-FFF2-40B4-BE49-F238E27FC236}">
                <a16:creationId xmlns:a16="http://schemas.microsoft.com/office/drawing/2014/main" id="{F6FD8F89-04ED-4165-9B82-132E4BA1B32F}"/>
              </a:ext>
            </a:extLst>
          </p:cNvPr>
          <p:cNvSpPr/>
          <p:nvPr userDrawn="1"/>
        </p:nvSpPr>
        <p:spPr>
          <a:xfrm>
            <a:off x="0" y="2853161"/>
            <a:ext cx="1219200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îṥḻíďe">
            <a:extLst>
              <a:ext uri="{FF2B5EF4-FFF2-40B4-BE49-F238E27FC236}">
                <a16:creationId xmlns:a16="http://schemas.microsoft.com/office/drawing/2014/main" id="{2D5907BD-60E0-41B1-8C01-0FCC3047856D}"/>
              </a:ext>
            </a:extLst>
          </p:cNvPr>
          <p:cNvSpPr/>
          <p:nvPr userDrawn="1"/>
        </p:nvSpPr>
        <p:spPr>
          <a:xfrm>
            <a:off x="0" y="1653506"/>
            <a:ext cx="10121900" cy="5204493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 flip="none" rotWithShape="1">
            <a:gsLst>
              <a:gs pos="1700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accent4">
                  <a:alpha val="75000"/>
                </a:schemeClr>
              </a:gs>
            </a:gsLst>
            <a:lin ang="5400000" scaled="1"/>
            <a:tileRect/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$ľíḓè">
            <a:extLst>
              <a:ext uri="{FF2B5EF4-FFF2-40B4-BE49-F238E27FC236}">
                <a16:creationId xmlns:a16="http://schemas.microsoft.com/office/drawing/2014/main" id="{1AB419AC-73DB-431C-BE92-CD899BC3FAD1}"/>
              </a:ext>
            </a:extLst>
          </p:cNvPr>
          <p:cNvSpPr/>
          <p:nvPr userDrawn="1"/>
        </p:nvSpPr>
        <p:spPr>
          <a:xfrm>
            <a:off x="1770697" y="793283"/>
            <a:ext cx="10276206" cy="5283834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0"/>
                  <a:lumOff val="100000"/>
                </a:schemeClr>
              </a:gs>
              <a:gs pos="35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5" name="Picture 18_1" descr="建筑的摆设布局&#10;&#10;描述已自动生成">
            <a:extLst>
              <a:ext uri="{FF2B5EF4-FFF2-40B4-BE49-F238E27FC236}">
                <a16:creationId xmlns:a16="http://schemas.microsoft.com/office/drawing/2014/main" id="{6FEF89AD-DB89-4344-BB70-D93C3819A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形 10">
            <a:extLst>
              <a:ext uri="{FF2B5EF4-FFF2-40B4-BE49-F238E27FC236}">
                <a16:creationId xmlns:a16="http://schemas.microsoft.com/office/drawing/2014/main" id="{060D238B-2981-475F-8E3A-6CD94B3BA2F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86875" y="511345"/>
            <a:ext cx="2233612" cy="44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l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šļiḍ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îs1íḍ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šḷiḓ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ľïḑê"/>
          <p:cNvSpPr>
            <a:spLocks noGrp="1"/>
          </p:cNvSpPr>
          <p:nvPr>
            <p:ph type="subTitle" idx="1"/>
          </p:nvPr>
        </p:nvSpPr>
        <p:spPr>
          <a:xfrm>
            <a:off x="673099" y="3195194"/>
            <a:ext cx="10845800" cy="369332"/>
          </a:xfrm>
        </p:spPr>
        <p:txBody>
          <a:bodyPr/>
          <a:lstStyle/>
          <a:p>
            <a:r>
              <a:rPr lang="en-US" altLang="zh-CN" dirty="0"/>
              <a:t>www.hust.</a:t>
            </a:r>
            <a:r>
              <a:rPr lang="en-US" altLang="zh-CN" sz="100" dirty="0"/>
              <a:t> </a:t>
            </a:r>
            <a:r>
              <a:rPr lang="en-US" altLang="zh-CN" dirty="0"/>
              <a:t>edu.cn</a:t>
            </a:r>
          </a:p>
        </p:txBody>
      </p:sp>
      <p:sp>
        <p:nvSpPr>
          <p:cNvPr id="4" name="isḻîḍé"/>
          <p:cNvSpPr>
            <a:spLocks noGrp="1"/>
          </p:cNvSpPr>
          <p:nvPr>
            <p:ph type="ctrTitle"/>
          </p:nvPr>
        </p:nvSpPr>
        <p:spPr>
          <a:xfrm>
            <a:off x="267839" y="1165529"/>
            <a:ext cx="10845800" cy="1814759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solidFill>
                  <a:schemeClr val="bg1"/>
                </a:solidFill>
              </a:rPr>
              <a:t>              </a:t>
            </a:r>
            <a:r>
              <a:rPr lang="en-US" altLang="zh-CN" sz="2400" dirty="0"/>
              <a:t>MICRO</a:t>
            </a:r>
            <a:r>
              <a:rPr lang="zh-CN" altLang="en-US" sz="2400" dirty="0"/>
              <a:t>：</a:t>
            </a:r>
            <a:r>
              <a:rPr lang="en-US" altLang="zh-CN" sz="2400" dirty="0"/>
              <a:t>Latent Structure Mining with Contrastive Modality</a:t>
            </a:r>
            <a:br>
              <a:rPr lang="en-US" altLang="zh-CN" sz="2400" dirty="0"/>
            </a:br>
            <a:r>
              <a:rPr lang="en-US" altLang="zh-CN" sz="2400" dirty="0"/>
              <a:t>Fusion for Multimedia Recommendation</a:t>
            </a:r>
            <a:endParaRPr lang="zh-CN" altLang="en-US" sz="2400" dirty="0">
              <a:solidFill>
                <a:schemeClr val="accent2"/>
              </a:solidFill>
            </a:endParaRPr>
          </a:p>
        </p:txBody>
      </p:sp>
      <p:sp>
        <p:nvSpPr>
          <p:cNvPr id="8" name="işľîḍê">
            <a:extLst>
              <a:ext uri="{FF2B5EF4-FFF2-40B4-BE49-F238E27FC236}">
                <a16:creationId xmlns:a16="http://schemas.microsoft.com/office/drawing/2014/main" id="{0AFE6246-6A79-4877-AC7C-E87C6D4C648A}"/>
              </a:ext>
            </a:extLst>
          </p:cNvPr>
          <p:cNvSpPr txBox="1">
            <a:spLocks/>
          </p:cNvSpPr>
          <p:nvPr/>
        </p:nvSpPr>
        <p:spPr>
          <a:xfrm>
            <a:off x="3794261" y="3994338"/>
            <a:ext cx="4537650" cy="312601"/>
          </a:xfrm>
          <a:custGeom>
            <a:avLst/>
            <a:gdLst/>
            <a:ahLst/>
            <a:cxnLst/>
            <a:rect l="l" t="t" r="r" b="b"/>
            <a:pathLst>
              <a:path w="4537650" h="312601">
                <a:moveTo>
                  <a:pt x="119660" y="233658"/>
                </a:moveTo>
                <a:cubicBezTo>
                  <a:pt x="119660" y="233658"/>
                  <a:pt x="119601" y="233717"/>
                  <a:pt x="119484" y="233834"/>
                </a:cubicBezTo>
                <a:cubicBezTo>
                  <a:pt x="119367" y="233952"/>
                  <a:pt x="119308" y="234010"/>
                  <a:pt x="119308" y="234010"/>
                </a:cubicBezTo>
                <a:lnTo>
                  <a:pt x="117898" y="238239"/>
                </a:lnTo>
                <a:cubicBezTo>
                  <a:pt x="118838" y="236360"/>
                  <a:pt x="119425" y="234833"/>
                  <a:pt x="119660" y="233658"/>
                </a:cubicBezTo>
                <a:close/>
                <a:moveTo>
                  <a:pt x="4230688" y="206169"/>
                </a:moveTo>
                <a:cubicBezTo>
                  <a:pt x="4236797" y="209928"/>
                  <a:pt x="4239734" y="211573"/>
                  <a:pt x="4239499" y="211103"/>
                </a:cubicBezTo>
                <a:cubicBezTo>
                  <a:pt x="4243728" y="216506"/>
                  <a:pt x="4248310" y="219913"/>
                  <a:pt x="4253243" y="221323"/>
                </a:cubicBezTo>
                <a:cubicBezTo>
                  <a:pt x="4255358" y="222263"/>
                  <a:pt x="4259117" y="222733"/>
                  <a:pt x="4264521" y="222733"/>
                </a:cubicBezTo>
                <a:cubicBezTo>
                  <a:pt x="4268985" y="222733"/>
                  <a:pt x="4273273" y="222263"/>
                  <a:pt x="4277385" y="221323"/>
                </a:cubicBezTo>
                <a:cubicBezTo>
                  <a:pt x="4281496" y="220383"/>
                  <a:pt x="4284844" y="218973"/>
                  <a:pt x="4287429" y="217094"/>
                </a:cubicBezTo>
                <a:lnTo>
                  <a:pt x="4299411" y="207931"/>
                </a:lnTo>
                <a:cubicBezTo>
                  <a:pt x="4297532" y="211925"/>
                  <a:pt x="4296592" y="216389"/>
                  <a:pt x="4296592" y="221323"/>
                </a:cubicBezTo>
                <a:cubicBezTo>
                  <a:pt x="4296357" y="224612"/>
                  <a:pt x="4295946" y="227255"/>
                  <a:pt x="4295358" y="229253"/>
                </a:cubicBezTo>
                <a:cubicBezTo>
                  <a:pt x="4294771" y="231250"/>
                  <a:pt x="4293185" y="233540"/>
                  <a:pt x="4290601" y="236125"/>
                </a:cubicBezTo>
                <a:cubicBezTo>
                  <a:pt x="4289661" y="237065"/>
                  <a:pt x="4287899" y="238827"/>
                  <a:pt x="4285314" y="241411"/>
                </a:cubicBezTo>
                <a:cubicBezTo>
                  <a:pt x="4282730" y="243996"/>
                  <a:pt x="4280792" y="246345"/>
                  <a:pt x="4279499" y="248460"/>
                </a:cubicBezTo>
                <a:cubicBezTo>
                  <a:pt x="4278207" y="250574"/>
                  <a:pt x="4277561" y="252689"/>
                  <a:pt x="4277561" y="254803"/>
                </a:cubicBezTo>
                <a:cubicBezTo>
                  <a:pt x="4277796" y="257858"/>
                  <a:pt x="4276562" y="260266"/>
                  <a:pt x="4273861" y="262028"/>
                </a:cubicBezTo>
                <a:cubicBezTo>
                  <a:pt x="4271158" y="263790"/>
                  <a:pt x="4267928" y="264671"/>
                  <a:pt x="4264169" y="264671"/>
                </a:cubicBezTo>
                <a:cubicBezTo>
                  <a:pt x="4261114" y="264671"/>
                  <a:pt x="4258530" y="264201"/>
                  <a:pt x="4256415" y="263262"/>
                </a:cubicBezTo>
                <a:cubicBezTo>
                  <a:pt x="4251481" y="261382"/>
                  <a:pt x="4247957" y="259150"/>
                  <a:pt x="4245842" y="256565"/>
                </a:cubicBezTo>
                <a:cubicBezTo>
                  <a:pt x="4243258" y="253041"/>
                  <a:pt x="4241261" y="246874"/>
                  <a:pt x="4239852" y="238063"/>
                </a:cubicBezTo>
                <a:cubicBezTo>
                  <a:pt x="4238442" y="229253"/>
                  <a:pt x="4237619" y="224025"/>
                  <a:pt x="4237384" y="222380"/>
                </a:cubicBezTo>
                <a:cubicBezTo>
                  <a:pt x="4235740" y="215332"/>
                  <a:pt x="4233508" y="209928"/>
                  <a:pt x="4230688" y="206169"/>
                </a:cubicBezTo>
                <a:close/>
                <a:moveTo>
                  <a:pt x="633572" y="190662"/>
                </a:moveTo>
                <a:lnTo>
                  <a:pt x="596567" y="199120"/>
                </a:lnTo>
                <a:cubicBezTo>
                  <a:pt x="597742" y="200530"/>
                  <a:pt x="599152" y="201940"/>
                  <a:pt x="600796" y="203349"/>
                </a:cubicBezTo>
                <a:cubicBezTo>
                  <a:pt x="602206" y="204759"/>
                  <a:pt x="604086" y="205816"/>
                  <a:pt x="606435" y="206521"/>
                </a:cubicBezTo>
                <a:cubicBezTo>
                  <a:pt x="608785" y="207226"/>
                  <a:pt x="610664" y="207578"/>
                  <a:pt x="612074" y="207578"/>
                </a:cubicBezTo>
                <a:cubicBezTo>
                  <a:pt x="619122" y="206639"/>
                  <a:pt x="626289" y="201000"/>
                  <a:pt x="633572" y="190662"/>
                </a:cubicBezTo>
                <a:close/>
                <a:moveTo>
                  <a:pt x="3090736" y="165287"/>
                </a:moveTo>
                <a:lnTo>
                  <a:pt x="3050560" y="170574"/>
                </a:lnTo>
                <a:lnTo>
                  <a:pt x="3069591" y="181147"/>
                </a:lnTo>
                <a:cubicBezTo>
                  <a:pt x="3071705" y="184436"/>
                  <a:pt x="3073115" y="188078"/>
                  <a:pt x="3073820" y="192072"/>
                </a:cubicBezTo>
                <a:cubicBezTo>
                  <a:pt x="3074055" y="193716"/>
                  <a:pt x="3073879" y="194950"/>
                  <a:pt x="3073291" y="195772"/>
                </a:cubicBezTo>
                <a:cubicBezTo>
                  <a:pt x="3072704" y="196594"/>
                  <a:pt x="3071647" y="197593"/>
                  <a:pt x="3070119" y="198768"/>
                </a:cubicBezTo>
                <a:cubicBezTo>
                  <a:pt x="3068592" y="199943"/>
                  <a:pt x="3067476" y="201352"/>
                  <a:pt x="3066771" y="202997"/>
                </a:cubicBezTo>
                <a:lnTo>
                  <a:pt x="3066419" y="203702"/>
                </a:lnTo>
                <a:cubicBezTo>
                  <a:pt x="3073702" y="204642"/>
                  <a:pt x="3083570" y="206521"/>
                  <a:pt x="3096023" y="209341"/>
                </a:cubicBezTo>
                <a:cubicBezTo>
                  <a:pt x="3096257" y="205111"/>
                  <a:pt x="3096375" y="198885"/>
                  <a:pt x="3096375" y="190662"/>
                </a:cubicBezTo>
                <a:cubicBezTo>
                  <a:pt x="3096375" y="184083"/>
                  <a:pt x="3096257" y="178914"/>
                  <a:pt x="3096023" y="175155"/>
                </a:cubicBezTo>
                <a:cubicBezTo>
                  <a:pt x="3096023" y="173981"/>
                  <a:pt x="3095259" y="172277"/>
                  <a:pt x="3093732" y="170045"/>
                </a:cubicBezTo>
                <a:cubicBezTo>
                  <a:pt x="3092205" y="167813"/>
                  <a:pt x="3091206" y="166227"/>
                  <a:pt x="3090736" y="165287"/>
                </a:cubicBezTo>
                <a:close/>
                <a:moveTo>
                  <a:pt x="655070" y="161411"/>
                </a:moveTo>
                <a:cubicBezTo>
                  <a:pt x="664468" y="161411"/>
                  <a:pt x="670929" y="163290"/>
                  <a:pt x="674453" y="167050"/>
                </a:cubicBezTo>
                <a:cubicBezTo>
                  <a:pt x="676333" y="169869"/>
                  <a:pt x="677273" y="173158"/>
                  <a:pt x="677273" y="176917"/>
                </a:cubicBezTo>
                <a:cubicBezTo>
                  <a:pt x="677273" y="180207"/>
                  <a:pt x="676568" y="183144"/>
                  <a:pt x="675158" y="185728"/>
                </a:cubicBezTo>
                <a:cubicBezTo>
                  <a:pt x="678447" y="185258"/>
                  <a:pt x="682559" y="184083"/>
                  <a:pt x="687493" y="182204"/>
                </a:cubicBezTo>
                <a:cubicBezTo>
                  <a:pt x="695011" y="179854"/>
                  <a:pt x="700298" y="178680"/>
                  <a:pt x="703352" y="178680"/>
                </a:cubicBezTo>
                <a:cubicBezTo>
                  <a:pt x="707346" y="178680"/>
                  <a:pt x="711223" y="179854"/>
                  <a:pt x="714982" y="182204"/>
                </a:cubicBezTo>
                <a:cubicBezTo>
                  <a:pt x="720386" y="185493"/>
                  <a:pt x="724733" y="190368"/>
                  <a:pt x="728022" y="196829"/>
                </a:cubicBezTo>
                <a:cubicBezTo>
                  <a:pt x="731311" y="203291"/>
                  <a:pt x="732956" y="208871"/>
                  <a:pt x="732956" y="213570"/>
                </a:cubicBezTo>
                <a:cubicBezTo>
                  <a:pt x="732956" y="215214"/>
                  <a:pt x="732721" y="216506"/>
                  <a:pt x="732251" y="217446"/>
                </a:cubicBezTo>
                <a:cubicBezTo>
                  <a:pt x="730606" y="220031"/>
                  <a:pt x="727611" y="222968"/>
                  <a:pt x="723264" y="226257"/>
                </a:cubicBezTo>
                <a:cubicBezTo>
                  <a:pt x="718918" y="229546"/>
                  <a:pt x="713925" y="231191"/>
                  <a:pt x="708286" y="231191"/>
                </a:cubicBezTo>
                <a:cubicBezTo>
                  <a:pt x="700063" y="231191"/>
                  <a:pt x="691487" y="229194"/>
                  <a:pt x="682559" y="225200"/>
                </a:cubicBezTo>
                <a:cubicBezTo>
                  <a:pt x="690312" y="220266"/>
                  <a:pt x="694189" y="216506"/>
                  <a:pt x="694189" y="213922"/>
                </a:cubicBezTo>
                <a:cubicBezTo>
                  <a:pt x="694189" y="211807"/>
                  <a:pt x="692897" y="210045"/>
                  <a:pt x="690312" y="208636"/>
                </a:cubicBezTo>
                <a:cubicBezTo>
                  <a:pt x="687728" y="207226"/>
                  <a:pt x="683264" y="205464"/>
                  <a:pt x="676920" y="203349"/>
                </a:cubicBezTo>
                <a:cubicBezTo>
                  <a:pt x="666817" y="199825"/>
                  <a:pt x="658359" y="194774"/>
                  <a:pt x="651545" y="188195"/>
                </a:cubicBezTo>
                <a:lnTo>
                  <a:pt x="647669" y="188195"/>
                </a:lnTo>
                <a:lnTo>
                  <a:pt x="636039" y="190310"/>
                </a:lnTo>
                <a:cubicBezTo>
                  <a:pt x="634864" y="194069"/>
                  <a:pt x="634277" y="197945"/>
                  <a:pt x="634277" y="201940"/>
                </a:cubicBezTo>
                <a:cubicBezTo>
                  <a:pt x="634277" y="204054"/>
                  <a:pt x="634512" y="206521"/>
                  <a:pt x="634982" y="209341"/>
                </a:cubicBezTo>
                <a:cubicBezTo>
                  <a:pt x="635451" y="212160"/>
                  <a:pt x="635687" y="214627"/>
                  <a:pt x="635687" y="216741"/>
                </a:cubicBezTo>
                <a:cubicBezTo>
                  <a:pt x="635687" y="219326"/>
                  <a:pt x="635217" y="221910"/>
                  <a:pt x="634277" y="224495"/>
                </a:cubicBezTo>
                <a:cubicBezTo>
                  <a:pt x="634042" y="225200"/>
                  <a:pt x="632750" y="228900"/>
                  <a:pt x="630400" y="235596"/>
                </a:cubicBezTo>
                <a:cubicBezTo>
                  <a:pt x="628051" y="242292"/>
                  <a:pt x="625349" y="246815"/>
                  <a:pt x="622294" y="249165"/>
                </a:cubicBezTo>
                <a:cubicBezTo>
                  <a:pt x="626523" y="249869"/>
                  <a:pt x="630635" y="250222"/>
                  <a:pt x="634629" y="250222"/>
                </a:cubicBezTo>
                <a:cubicBezTo>
                  <a:pt x="641913" y="250222"/>
                  <a:pt x="648080" y="248988"/>
                  <a:pt x="653131" y="246521"/>
                </a:cubicBezTo>
                <a:cubicBezTo>
                  <a:pt x="658183" y="244054"/>
                  <a:pt x="661413" y="240471"/>
                  <a:pt x="662823" y="235772"/>
                </a:cubicBezTo>
                <a:cubicBezTo>
                  <a:pt x="663293" y="233658"/>
                  <a:pt x="661884" y="227197"/>
                  <a:pt x="658594" y="216389"/>
                </a:cubicBezTo>
                <a:cubicBezTo>
                  <a:pt x="662588" y="217799"/>
                  <a:pt x="668110" y="220618"/>
                  <a:pt x="675158" y="224847"/>
                </a:cubicBezTo>
                <a:cubicBezTo>
                  <a:pt x="682207" y="228606"/>
                  <a:pt x="688080" y="231426"/>
                  <a:pt x="692779" y="233305"/>
                </a:cubicBezTo>
                <a:cubicBezTo>
                  <a:pt x="697478" y="235185"/>
                  <a:pt x="702765" y="236125"/>
                  <a:pt x="708638" y="236125"/>
                </a:cubicBezTo>
                <a:lnTo>
                  <a:pt x="708638" y="248460"/>
                </a:lnTo>
                <a:cubicBezTo>
                  <a:pt x="708638" y="255743"/>
                  <a:pt x="707934" y="261676"/>
                  <a:pt x="706524" y="266257"/>
                </a:cubicBezTo>
                <a:cubicBezTo>
                  <a:pt x="705114" y="270839"/>
                  <a:pt x="702295" y="274422"/>
                  <a:pt x="698066" y="277006"/>
                </a:cubicBezTo>
                <a:cubicBezTo>
                  <a:pt x="682324" y="286169"/>
                  <a:pt x="664820" y="290751"/>
                  <a:pt x="645554" y="290751"/>
                </a:cubicBezTo>
                <a:cubicBezTo>
                  <a:pt x="625349" y="290751"/>
                  <a:pt x="606435" y="285875"/>
                  <a:pt x="588814" y="276125"/>
                </a:cubicBezTo>
                <a:cubicBezTo>
                  <a:pt x="571193" y="266375"/>
                  <a:pt x="558270" y="253041"/>
                  <a:pt x="550047" y="236125"/>
                </a:cubicBezTo>
                <a:cubicBezTo>
                  <a:pt x="548403" y="232601"/>
                  <a:pt x="547110" y="228841"/>
                  <a:pt x="546171" y="224847"/>
                </a:cubicBezTo>
                <a:cubicBezTo>
                  <a:pt x="545231" y="220853"/>
                  <a:pt x="544643" y="218269"/>
                  <a:pt x="544408" y="217094"/>
                </a:cubicBezTo>
                <a:cubicBezTo>
                  <a:pt x="542999" y="208401"/>
                  <a:pt x="540884" y="201940"/>
                  <a:pt x="538065" y="197710"/>
                </a:cubicBezTo>
                <a:cubicBezTo>
                  <a:pt x="537595" y="196771"/>
                  <a:pt x="539416" y="197064"/>
                  <a:pt x="543527" y="198592"/>
                </a:cubicBezTo>
                <a:cubicBezTo>
                  <a:pt x="547639" y="200119"/>
                  <a:pt x="551868" y="202057"/>
                  <a:pt x="556215" y="204407"/>
                </a:cubicBezTo>
                <a:cubicBezTo>
                  <a:pt x="560561" y="206756"/>
                  <a:pt x="563322" y="208753"/>
                  <a:pt x="564497" y="210398"/>
                </a:cubicBezTo>
                <a:cubicBezTo>
                  <a:pt x="569666" y="218386"/>
                  <a:pt x="575892" y="225200"/>
                  <a:pt x="583175" y="230838"/>
                </a:cubicBezTo>
                <a:cubicBezTo>
                  <a:pt x="590459" y="236477"/>
                  <a:pt x="598212" y="240941"/>
                  <a:pt x="606435" y="244231"/>
                </a:cubicBezTo>
                <a:cubicBezTo>
                  <a:pt x="602911" y="241411"/>
                  <a:pt x="599974" y="237887"/>
                  <a:pt x="597625" y="233658"/>
                </a:cubicBezTo>
                <a:cubicBezTo>
                  <a:pt x="595275" y="229429"/>
                  <a:pt x="593983" y="225670"/>
                  <a:pt x="593748" y="222380"/>
                </a:cubicBezTo>
                <a:cubicBezTo>
                  <a:pt x="593043" y="209693"/>
                  <a:pt x="592691" y="202292"/>
                  <a:pt x="592691" y="200177"/>
                </a:cubicBezTo>
                <a:lnTo>
                  <a:pt x="574364" y="204054"/>
                </a:lnTo>
                <a:cubicBezTo>
                  <a:pt x="569196" y="205229"/>
                  <a:pt x="562382" y="201235"/>
                  <a:pt x="553924" y="192072"/>
                </a:cubicBezTo>
                <a:cubicBezTo>
                  <a:pt x="550870" y="188782"/>
                  <a:pt x="549342" y="185963"/>
                  <a:pt x="549342" y="183613"/>
                </a:cubicBezTo>
                <a:cubicBezTo>
                  <a:pt x="549342" y="181029"/>
                  <a:pt x="551222" y="179619"/>
                  <a:pt x="554981" y="179384"/>
                </a:cubicBezTo>
                <a:cubicBezTo>
                  <a:pt x="574247" y="178914"/>
                  <a:pt x="599974" y="174215"/>
                  <a:pt x="632162" y="165287"/>
                </a:cubicBezTo>
                <a:cubicBezTo>
                  <a:pt x="635451" y="164113"/>
                  <a:pt x="638506" y="163290"/>
                  <a:pt x="641325" y="162820"/>
                </a:cubicBezTo>
                <a:cubicBezTo>
                  <a:pt x="645319" y="161881"/>
                  <a:pt x="649901" y="161411"/>
                  <a:pt x="655070" y="161411"/>
                </a:cubicBezTo>
                <a:close/>
                <a:moveTo>
                  <a:pt x="66444" y="157534"/>
                </a:moveTo>
                <a:cubicBezTo>
                  <a:pt x="63860" y="157534"/>
                  <a:pt x="60864" y="157769"/>
                  <a:pt x="57457" y="158239"/>
                </a:cubicBezTo>
                <a:cubicBezTo>
                  <a:pt x="54051" y="158709"/>
                  <a:pt x="51290" y="159061"/>
                  <a:pt x="49175" y="159296"/>
                </a:cubicBezTo>
                <a:lnTo>
                  <a:pt x="49175" y="198768"/>
                </a:lnTo>
                <a:cubicBezTo>
                  <a:pt x="52935" y="198298"/>
                  <a:pt x="55754" y="198063"/>
                  <a:pt x="57633" y="198063"/>
                </a:cubicBezTo>
                <a:cubicBezTo>
                  <a:pt x="70556" y="196653"/>
                  <a:pt x="77487" y="195596"/>
                  <a:pt x="78427" y="194891"/>
                </a:cubicBezTo>
                <a:cubicBezTo>
                  <a:pt x="80306" y="193951"/>
                  <a:pt x="82185" y="193364"/>
                  <a:pt x="84066" y="193129"/>
                </a:cubicBezTo>
                <a:lnTo>
                  <a:pt x="85475" y="162468"/>
                </a:lnTo>
                <a:cubicBezTo>
                  <a:pt x="84066" y="161998"/>
                  <a:pt x="82714" y="161411"/>
                  <a:pt x="81422" y="160706"/>
                </a:cubicBezTo>
                <a:cubicBezTo>
                  <a:pt x="80130" y="160001"/>
                  <a:pt x="78896" y="159414"/>
                  <a:pt x="77721" y="158944"/>
                </a:cubicBezTo>
                <a:cubicBezTo>
                  <a:pt x="73962" y="158004"/>
                  <a:pt x="70203" y="157534"/>
                  <a:pt x="66444" y="157534"/>
                </a:cubicBezTo>
                <a:close/>
                <a:moveTo>
                  <a:pt x="4373068" y="140970"/>
                </a:moveTo>
                <a:cubicBezTo>
                  <a:pt x="4363435" y="140970"/>
                  <a:pt x="4348398" y="143320"/>
                  <a:pt x="4327958" y="148019"/>
                </a:cubicBezTo>
                <a:cubicBezTo>
                  <a:pt x="4331247" y="148488"/>
                  <a:pt x="4334654" y="150016"/>
                  <a:pt x="4338178" y="152600"/>
                </a:cubicBezTo>
                <a:cubicBezTo>
                  <a:pt x="4344052" y="150955"/>
                  <a:pt x="4346989" y="150133"/>
                  <a:pt x="4346989" y="150133"/>
                </a:cubicBezTo>
                <a:cubicBezTo>
                  <a:pt x="4351452" y="147549"/>
                  <a:pt x="4356151" y="146256"/>
                  <a:pt x="4361085" y="146256"/>
                </a:cubicBezTo>
                <a:cubicBezTo>
                  <a:pt x="4366724" y="146256"/>
                  <a:pt x="4374125" y="148723"/>
                  <a:pt x="4383288" y="153657"/>
                </a:cubicBezTo>
                <a:cubicBezTo>
                  <a:pt x="4388222" y="156242"/>
                  <a:pt x="4390689" y="160236"/>
                  <a:pt x="4390689" y="165640"/>
                </a:cubicBezTo>
                <a:cubicBezTo>
                  <a:pt x="4390689" y="169634"/>
                  <a:pt x="4389162" y="173158"/>
                  <a:pt x="4386108" y="176213"/>
                </a:cubicBezTo>
                <a:cubicBezTo>
                  <a:pt x="4383053" y="179267"/>
                  <a:pt x="4379294" y="180794"/>
                  <a:pt x="4374830" y="180794"/>
                </a:cubicBezTo>
                <a:cubicBezTo>
                  <a:pt x="4373890" y="180794"/>
                  <a:pt x="4372246" y="180559"/>
                  <a:pt x="4369896" y="180089"/>
                </a:cubicBezTo>
                <a:cubicBezTo>
                  <a:pt x="4364962" y="178680"/>
                  <a:pt x="4359793" y="177975"/>
                  <a:pt x="4354389" y="177975"/>
                </a:cubicBezTo>
                <a:cubicBezTo>
                  <a:pt x="4350161" y="177975"/>
                  <a:pt x="4345931" y="178327"/>
                  <a:pt x="4341702" y="179032"/>
                </a:cubicBezTo>
                <a:cubicBezTo>
                  <a:pt x="4341937" y="181851"/>
                  <a:pt x="4342055" y="186668"/>
                  <a:pt x="4342055" y="193481"/>
                </a:cubicBezTo>
                <a:cubicBezTo>
                  <a:pt x="4346283" y="194656"/>
                  <a:pt x="4352510" y="195478"/>
                  <a:pt x="4360733" y="195948"/>
                </a:cubicBezTo>
                <a:cubicBezTo>
                  <a:pt x="4367782" y="196418"/>
                  <a:pt x="4373361" y="197182"/>
                  <a:pt x="4377473" y="198239"/>
                </a:cubicBezTo>
                <a:cubicBezTo>
                  <a:pt x="4381585" y="199296"/>
                  <a:pt x="4384933" y="201587"/>
                  <a:pt x="4387518" y="205111"/>
                </a:cubicBezTo>
                <a:cubicBezTo>
                  <a:pt x="4388692" y="206756"/>
                  <a:pt x="4389984" y="208871"/>
                  <a:pt x="4391394" y="211455"/>
                </a:cubicBezTo>
                <a:cubicBezTo>
                  <a:pt x="4397973" y="191014"/>
                  <a:pt x="4402437" y="168694"/>
                  <a:pt x="4404786" y="144494"/>
                </a:cubicBezTo>
                <a:cubicBezTo>
                  <a:pt x="4402437" y="146139"/>
                  <a:pt x="4399735" y="146961"/>
                  <a:pt x="4396680" y="146961"/>
                </a:cubicBezTo>
                <a:cubicBezTo>
                  <a:pt x="4393156" y="146961"/>
                  <a:pt x="4389162" y="145787"/>
                  <a:pt x="4384698" y="143437"/>
                </a:cubicBezTo>
                <a:cubicBezTo>
                  <a:pt x="4382114" y="142732"/>
                  <a:pt x="4380292" y="142145"/>
                  <a:pt x="4379236" y="141675"/>
                </a:cubicBezTo>
                <a:cubicBezTo>
                  <a:pt x="4378178" y="141205"/>
                  <a:pt x="4376122" y="140970"/>
                  <a:pt x="4373068" y="140970"/>
                </a:cubicBezTo>
                <a:close/>
                <a:moveTo>
                  <a:pt x="2540172" y="137093"/>
                </a:moveTo>
                <a:cubicBezTo>
                  <a:pt x="2547455" y="142027"/>
                  <a:pt x="2555679" y="144494"/>
                  <a:pt x="2564842" y="144494"/>
                </a:cubicBezTo>
                <a:cubicBezTo>
                  <a:pt x="2567191" y="144494"/>
                  <a:pt x="2569835" y="144318"/>
                  <a:pt x="2572771" y="143966"/>
                </a:cubicBezTo>
                <a:cubicBezTo>
                  <a:pt x="2575708" y="143613"/>
                  <a:pt x="2577882" y="143437"/>
                  <a:pt x="2579291" y="143437"/>
                </a:cubicBezTo>
                <a:cubicBezTo>
                  <a:pt x="2583521" y="142732"/>
                  <a:pt x="2587515" y="142380"/>
                  <a:pt x="2591274" y="142380"/>
                </a:cubicBezTo>
                <a:cubicBezTo>
                  <a:pt x="2597383" y="142380"/>
                  <a:pt x="2602317" y="143907"/>
                  <a:pt x="2606076" y="146961"/>
                </a:cubicBezTo>
                <a:cubicBezTo>
                  <a:pt x="2610070" y="150486"/>
                  <a:pt x="2613418" y="155243"/>
                  <a:pt x="2616120" y="161235"/>
                </a:cubicBezTo>
                <a:cubicBezTo>
                  <a:pt x="2618822" y="167226"/>
                  <a:pt x="2620173" y="172218"/>
                  <a:pt x="2620173" y="176213"/>
                </a:cubicBezTo>
                <a:cubicBezTo>
                  <a:pt x="2620173" y="178092"/>
                  <a:pt x="2619938" y="179267"/>
                  <a:pt x="2619468" y="179737"/>
                </a:cubicBezTo>
                <a:cubicBezTo>
                  <a:pt x="2618058" y="181381"/>
                  <a:pt x="2614828" y="183437"/>
                  <a:pt x="2609776" y="185904"/>
                </a:cubicBezTo>
                <a:cubicBezTo>
                  <a:pt x="2604725" y="188371"/>
                  <a:pt x="2600084" y="189605"/>
                  <a:pt x="2595855" y="189605"/>
                </a:cubicBezTo>
                <a:cubicBezTo>
                  <a:pt x="2587867" y="189605"/>
                  <a:pt x="2579761" y="187020"/>
                  <a:pt x="2571538" y="181851"/>
                </a:cubicBezTo>
                <a:cubicBezTo>
                  <a:pt x="2579291" y="178092"/>
                  <a:pt x="2583168" y="175155"/>
                  <a:pt x="2583168" y="173041"/>
                </a:cubicBezTo>
                <a:cubicBezTo>
                  <a:pt x="2582933" y="171631"/>
                  <a:pt x="2581876" y="170163"/>
                  <a:pt x="2579996" y="168635"/>
                </a:cubicBezTo>
                <a:cubicBezTo>
                  <a:pt x="2578117" y="167108"/>
                  <a:pt x="2574710" y="165052"/>
                  <a:pt x="2569776" y="162468"/>
                </a:cubicBezTo>
                <a:cubicBezTo>
                  <a:pt x="2564842" y="160118"/>
                  <a:pt x="2559262" y="156301"/>
                  <a:pt x="2553036" y="151014"/>
                </a:cubicBezTo>
                <a:cubicBezTo>
                  <a:pt x="2546810" y="145728"/>
                  <a:pt x="2542521" y="141088"/>
                  <a:pt x="2540172" y="137093"/>
                </a:cubicBezTo>
                <a:close/>
                <a:moveTo>
                  <a:pt x="211643" y="131455"/>
                </a:moveTo>
                <a:cubicBezTo>
                  <a:pt x="210469" y="131455"/>
                  <a:pt x="207179" y="131748"/>
                  <a:pt x="201775" y="132336"/>
                </a:cubicBezTo>
                <a:cubicBezTo>
                  <a:pt x="196371" y="132923"/>
                  <a:pt x="190263" y="133922"/>
                  <a:pt x="183449" y="135331"/>
                </a:cubicBezTo>
                <a:cubicBezTo>
                  <a:pt x="182274" y="145199"/>
                  <a:pt x="180865" y="154950"/>
                  <a:pt x="179220" y="164583"/>
                </a:cubicBezTo>
                <a:cubicBezTo>
                  <a:pt x="189088" y="160823"/>
                  <a:pt x="196841" y="157417"/>
                  <a:pt x="202480" y="154362"/>
                </a:cubicBezTo>
                <a:cubicBezTo>
                  <a:pt x="205535" y="152718"/>
                  <a:pt x="208706" y="151895"/>
                  <a:pt x="211996" y="151895"/>
                </a:cubicBezTo>
                <a:cubicBezTo>
                  <a:pt x="220219" y="151895"/>
                  <a:pt x="228677" y="156712"/>
                  <a:pt x="237370" y="166345"/>
                </a:cubicBezTo>
                <a:lnTo>
                  <a:pt x="237370" y="136389"/>
                </a:lnTo>
                <a:cubicBezTo>
                  <a:pt x="235491" y="137563"/>
                  <a:pt x="233259" y="138151"/>
                  <a:pt x="230674" y="138151"/>
                </a:cubicBezTo>
                <a:cubicBezTo>
                  <a:pt x="227855" y="138151"/>
                  <a:pt x="225270" y="137563"/>
                  <a:pt x="222920" y="136389"/>
                </a:cubicBezTo>
                <a:cubicBezTo>
                  <a:pt x="221746" y="136154"/>
                  <a:pt x="220630" y="135507"/>
                  <a:pt x="219573" y="134450"/>
                </a:cubicBezTo>
                <a:cubicBezTo>
                  <a:pt x="218515" y="133393"/>
                  <a:pt x="217400" y="132571"/>
                  <a:pt x="216225" y="131983"/>
                </a:cubicBezTo>
                <a:cubicBezTo>
                  <a:pt x="215050" y="131396"/>
                  <a:pt x="213523" y="131220"/>
                  <a:pt x="211643" y="131455"/>
                </a:cubicBezTo>
                <a:close/>
                <a:moveTo>
                  <a:pt x="599387" y="120882"/>
                </a:moveTo>
                <a:lnTo>
                  <a:pt x="584585" y="124406"/>
                </a:lnTo>
                <a:cubicBezTo>
                  <a:pt x="585995" y="125111"/>
                  <a:pt x="587052" y="126286"/>
                  <a:pt x="587757" y="127930"/>
                </a:cubicBezTo>
                <a:cubicBezTo>
                  <a:pt x="588462" y="129810"/>
                  <a:pt x="588814" y="135449"/>
                  <a:pt x="588814" y="144847"/>
                </a:cubicBezTo>
                <a:lnTo>
                  <a:pt x="602559" y="141675"/>
                </a:lnTo>
                <a:cubicBezTo>
                  <a:pt x="602559" y="132277"/>
                  <a:pt x="601501" y="125346"/>
                  <a:pt x="599387" y="120882"/>
                </a:cubicBezTo>
                <a:close/>
                <a:moveTo>
                  <a:pt x="1450274" y="113481"/>
                </a:moveTo>
                <a:cubicBezTo>
                  <a:pt x="1447455" y="113951"/>
                  <a:pt x="1442991" y="114421"/>
                  <a:pt x="1436882" y="114891"/>
                </a:cubicBezTo>
                <a:cubicBezTo>
                  <a:pt x="1416676" y="117240"/>
                  <a:pt x="1401757" y="119707"/>
                  <a:pt x="1392124" y="122292"/>
                </a:cubicBezTo>
                <a:lnTo>
                  <a:pt x="1392124" y="128988"/>
                </a:lnTo>
                <a:lnTo>
                  <a:pt x="1420318" y="124759"/>
                </a:lnTo>
                <a:cubicBezTo>
                  <a:pt x="1440994" y="121939"/>
                  <a:pt x="1455326" y="119825"/>
                  <a:pt x="1463314" y="118415"/>
                </a:cubicBezTo>
                <a:lnTo>
                  <a:pt x="1463666" y="115948"/>
                </a:lnTo>
                <a:cubicBezTo>
                  <a:pt x="1462022" y="115948"/>
                  <a:pt x="1459790" y="115478"/>
                  <a:pt x="1456970" y="114538"/>
                </a:cubicBezTo>
                <a:cubicBezTo>
                  <a:pt x="1454151" y="113598"/>
                  <a:pt x="1451919" y="113246"/>
                  <a:pt x="1450274" y="113481"/>
                </a:cubicBezTo>
                <a:close/>
                <a:moveTo>
                  <a:pt x="647669" y="110661"/>
                </a:moveTo>
                <a:cubicBezTo>
                  <a:pt x="647669" y="110427"/>
                  <a:pt x="639093" y="112189"/>
                  <a:pt x="621942" y="115948"/>
                </a:cubicBezTo>
                <a:cubicBezTo>
                  <a:pt x="624526" y="116888"/>
                  <a:pt x="626171" y="118297"/>
                  <a:pt x="626876" y="120177"/>
                </a:cubicBezTo>
                <a:cubicBezTo>
                  <a:pt x="628051" y="122526"/>
                  <a:pt x="628638" y="127460"/>
                  <a:pt x="628638" y="134979"/>
                </a:cubicBezTo>
                <a:lnTo>
                  <a:pt x="642735" y="131455"/>
                </a:lnTo>
                <a:cubicBezTo>
                  <a:pt x="644145" y="126756"/>
                  <a:pt x="645378" y="122233"/>
                  <a:pt x="646435" y="117886"/>
                </a:cubicBezTo>
                <a:cubicBezTo>
                  <a:pt x="647493" y="113540"/>
                  <a:pt x="647904" y="111131"/>
                  <a:pt x="647669" y="110661"/>
                </a:cubicBezTo>
                <a:close/>
                <a:moveTo>
                  <a:pt x="2719204" y="108899"/>
                </a:moveTo>
                <a:cubicBezTo>
                  <a:pt x="2710276" y="109839"/>
                  <a:pt x="2696296" y="111719"/>
                  <a:pt x="2677266" y="114538"/>
                </a:cubicBezTo>
                <a:cubicBezTo>
                  <a:pt x="2677266" y="134039"/>
                  <a:pt x="2677383" y="148841"/>
                  <a:pt x="2677618" y="158944"/>
                </a:cubicBezTo>
                <a:lnTo>
                  <a:pt x="2687486" y="163878"/>
                </a:lnTo>
                <a:cubicBezTo>
                  <a:pt x="2706047" y="145317"/>
                  <a:pt x="2714388" y="131102"/>
                  <a:pt x="2712508" y="121234"/>
                </a:cubicBezTo>
                <a:close/>
                <a:moveTo>
                  <a:pt x="4400205" y="107842"/>
                </a:moveTo>
                <a:cubicBezTo>
                  <a:pt x="4396915" y="108782"/>
                  <a:pt x="4391981" y="109722"/>
                  <a:pt x="4385403" y="110661"/>
                </a:cubicBezTo>
                <a:cubicBezTo>
                  <a:pt x="4388692" y="111836"/>
                  <a:pt x="4392452" y="113716"/>
                  <a:pt x="4396680" y="116300"/>
                </a:cubicBezTo>
                <a:cubicBezTo>
                  <a:pt x="4400910" y="118885"/>
                  <a:pt x="4404082" y="121117"/>
                  <a:pt x="4406196" y="122996"/>
                </a:cubicBezTo>
                <a:lnTo>
                  <a:pt x="4406548" y="117358"/>
                </a:lnTo>
                <a:cubicBezTo>
                  <a:pt x="4404199" y="114068"/>
                  <a:pt x="4402084" y="110896"/>
                  <a:pt x="4400205" y="107842"/>
                </a:cubicBezTo>
                <a:close/>
                <a:moveTo>
                  <a:pt x="1870089" y="103613"/>
                </a:moveTo>
                <a:cubicBezTo>
                  <a:pt x="1870089" y="102908"/>
                  <a:pt x="1872849" y="104318"/>
                  <a:pt x="1878371" y="107842"/>
                </a:cubicBezTo>
                <a:cubicBezTo>
                  <a:pt x="1883892" y="111366"/>
                  <a:pt x="1889648" y="115537"/>
                  <a:pt x="1895639" y="120353"/>
                </a:cubicBezTo>
                <a:cubicBezTo>
                  <a:pt x="1901630" y="125170"/>
                  <a:pt x="1905801" y="128988"/>
                  <a:pt x="1908150" y="131807"/>
                </a:cubicBezTo>
                <a:cubicBezTo>
                  <a:pt x="1910735" y="135566"/>
                  <a:pt x="1912027" y="138386"/>
                  <a:pt x="1912027" y="140265"/>
                </a:cubicBezTo>
                <a:cubicBezTo>
                  <a:pt x="1912027" y="141675"/>
                  <a:pt x="1910852" y="142850"/>
                  <a:pt x="1908503" y="143789"/>
                </a:cubicBezTo>
                <a:cubicBezTo>
                  <a:pt x="1907798" y="143789"/>
                  <a:pt x="1903687" y="147196"/>
                  <a:pt x="1896168" y="154010"/>
                </a:cubicBezTo>
                <a:cubicBezTo>
                  <a:pt x="1875727" y="171396"/>
                  <a:pt x="1861396" y="183026"/>
                  <a:pt x="1853172" y="188900"/>
                </a:cubicBezTo>
                <a:cubicBezTo>
                  <a:pt x="1856696" y="191249"/>
                  <a:pt x="1858576" y="192542"/>
                  <a:pt x="1858811" y="192777"/>
                </a:cubicBezTo>
                <a:cubicBezTo>
                  <a:pt x="1874083" y="189957"/>
                  <a:pt x="1887299" y="187138"/>
                  <a:pt x="1898458" y="184318"/>
                </a:cubicBezTo>
                <a:cubicBezTo>
                  <a:pt x="1909619" y="181499"/>
                  <a:pt x="1916374" y="179502"/>
                  <a:pt x="1918723" y="178327"/>
                </a:cubicBezTo>
                <a:cubicBezTo>
                  <a:pt x="1919663" y="177857"/>
                  <a:pt x="1921308" y="177622"/>
                  <a:pt x="1923657" y="177622"/>
                </a:cubicBezTo>
                <a:cubicBezTo>
                  <a:pt x="1929531" y="177622"/>
                  <a:pt x="1936697" y="179326"/>
                  <a:pt x="1945155" y="182732"/>
                </a:cubicBezTo>
                <a:cubicBezTo>
                  <a:pt x="1953613" y="186139"/>
                  <a:pt x="1959134" y="189487"/>
                  <a:pt x="1961719" y="192777"/>
                </a:cubicBezTo>
                <a:cubicBezTo>
                  <a:pt x="1963599" y="195126"/>
                  <a:pt x="1964539" y="197710"/>
                  <a:pt x="1964539" y="200530"/>
                </a:cubicBezTo>
                <a:cubicBezTo>
                  <a:pt x="1964539" y="204994"/>
                  <a:pt x="1962893" y="208988"/>
                  <a:pt x="1959605" y="212512"/>
                </a:cubicBezTo>
                <a:cubicBezTo>
                  <a:pt x="1956315" y="216037"/>
                  <a:pt x="1952203" y="217681"/>
                  <a:pt x="1947269" y="217446"/>
                </a:cubicBezTo>
                <a:cubicBezTo>
                  <a:pt x="1946330" y="217446"/>
                  <a:pt x="1944861" y="217035"/>
                  <a:pt x="1942864" y="216213"/>
                </a:cubicBezTo>
                <a:cubicBezTo>
                  <a:pt x="1940867" y="215390"/>
                  <a:pt x="1939282" y="214744"/>
                  <a:pt x="1938107" y="214274"/>
                </a:cubicBezTo>
                <a:cubicBezTo>
                  <a:pt x="1937637" y="214274"/>
                  <a:pt x="1936990" y="214098"/>
                  <a:pt x="1936168" y="213746"/>
                </a:cubicBezTo>
                <a:cubicBezTo>
                  <a:pt x="1935346" y="213393"/>
                  <a:pt x="1934230" y="213335"/>
                  <a:pt x="1932820" y="213570"/>
                </a:cubicBezTo>
                <a:cubicBezTo>
                  <a:pt x="1924362" y="213805"/>
                  <a:pt x="1903804" y="215802"/>
                  <a:pt x="1871146" y="219561"/>
                </a:cubicBezTo>
                <a:cubicBezTo>
                  <a:pt x="1871616" y="221910"/>
                  <a:pt x="1872086" y="225787"/>
                  <a:pt x="1872555" y="231191"/>
                </a:cubicBezTo>
                <a:cubicBezTo>
                  <a:pt x="1873025" y="237769"/>
                  <a:pt x="1873261" y="242586"/>
                  <a:pt x="1873261" y="245640"/>
                </a:cubicBezTo>
                <a:cubicBezTo>
                  <a:pt x="1873261" y="256918"/>
                  <a:pt x="1872144" y="266551"/>
                  <a:pt x="1869913" y="274539"/>
                </a:cubicBezTo>
                <a:cubicBezTo>
                  <a:pt x="1867680" y="282527"/>
                  <a:pt x="1864567" y="288166"/>
                  <a:pt x="1860573" y="291456"/>
                </a:cubicBezTo>
                <a:cubicBezTo>
                  <a:pt x="1854465" y="296859"/>
                  <a:pt x="1843069" y="301793"/>
                  <a:pt x="1826388" y="306257"/>
                </a:cubicBezTo>
                <a:lnTo>
                  <a:pt x="1799603" y="266081"/>
                </a:lnTo>
                <a:cubicBezTo>
                  <a:pt x="1816520" y="266081"/>
                  <a:pt x="1825683" y="265259"/>
                  <a:pt x="1827092" y="263614"/>
                </a:cubicBezTo>
                <a:cubicBezTo>
                  <a:pt x="1832967" y="255626"/>
                  <a:pt x="1835903" y="245523"/>
                  <a:pt x="1835903" y="233305"/>
                </a:cubicBezTo>
                <a:cubicBezTo>
                  <a:pt x="1835903" y="231191"/>
                  <a:pt x="1835668" y="228019"/>
                  <a:pt x="1835198" y="223790"/>
                </a:cubicBezTo>
                <a:cubicBezTo>
                  <a:pt x="1798781" y="228254"/>
                  <a:pt x="1772819" y="231896"/>
                  <a:pt x="1757312" y="234715"/>
                </a:cubicBezTo>
                <a:cubicBezTo>
                  <a:pt x="1755433" y="235185"/>
                  <a:pt x="1753671" y="234774"/>
                  <a:pt x="1752026" y="233482"/>
                </a:cubicBezTo>
                <a:cubicBezTo>
                  <a:pt x="1750381" y="232189"/>
                  <a:pt x="1748619" y="230369"/>
                  <a:pt x="1746740" y="228019"/>
                </a:cubicBezTo>
                <a:cubicBezTo>
                  <a:pt x="1744860" y="225670"/>
                  <a:pt x="1743098" y="223672"/>
                  <a:pt x="1741453" y="222028"/>
                </a:cubicBezTo>
                <a:cubicBezTo>
                  <a:pt x="1739574" y="219913"/>
                  <a:pt x="1736989" y="217564"/>
                  <a:pt x="1733700" y="214979"/>
                </a:cubicBezTo>
                <a:cubicBezTo>
                  <a:pt x="1733230" y="214509"/>
                  <a:pt x="1732232" y="213628"/>
                  <a:pt x="1730704" y="212336"/>
                </a:cubicBezTo>
                <a:cubicBezTo>
                  <a:pt x="1729177" y="211044"/>
                  <a:pt x="1728237" y="210104"/>
                  <a:pt x="1727885" y="209517"/>
                </a:cubicBezTo>
                <a:cubicBezTo>
                  <a:pt x="1727533" y="208929"/>
                  <a:pt x="1727709" y="208636"/>
                  <a:pt x="1728414" y="208636"/>
                </a:cubicBezTo>
                <a:cubicBezTo>
                  <a:pt x="1753788" y="208636"/>
                  <a:pt x="1785976" y="205346"/>
                  <a:pt x="1824978" y="198768"/>
                </a:cubicBezTo>
                <a:lnTo>
                  <a:pt x="1819692" y="193834"/>
                </a:lnTo>
                <a:cubicBezTo>
                  <a:pt x="1817342" y="192424"/>
                  <a:pt x="1815521" y="189663"/>
                  <a:pt x="1814229" y="185552"/>
                </a:cubicBezTo>
                <a:cubicBezTo>
                  <a:pt x="1812937" y="181440"/>
                  <a:pt x="1812173" y="176917"/>
                  <a:pt x="1811938" y="171983"/>
                </a:cubicBezTo>
                <a:cubicBezTo>
                  <a:pt x="1815698" y="176917"/>
                  <a:pt x="1819281" y="180089"/>
                  <a:pt x="1822687" y="181499"/>
                </a:cubicBezTo>
                <a:cubicBezTo>
                  <a:pt x="1826094" y="182909"/>
                  <a:pt x="1830734" y="183731"/>
                  <a:pt x="1836608" y="183966"/>
                </a:cubicBezTo>
                <a:cubicBezTo>
                  <a:pt x="1838253" y="183966"/>
                  <a:pt x="1840250" y="184201"/>
                  <a:pt x="1842599" y="184671"/>
                </a:cubicBezTo>
                <a:cubicBezTo>
                  <a:pt x="1849413" y="168929"/>
                  <a:pt x="1854112" y="158709"/>
                  <a:pt x="1856696" y="154010"/>
                </a:cubicBezTo>
                <a:cubicBezTo>
                  <a:pt x="1845654" y="155654"/>
                  <a:pt x="1836021" y="157534"/>
                  <a:pt x="1827798" y="159649"/>
                </a:cubicBezTo>
                <a:cubicBezTo>
                  <a:pt x="1819574" y="161763"/>
                  <a:pt x="1814993" y="163760"/>
                  <a:pt x="1814053" y="165640"/>
                </a:cubicBezTo>
                <a:cubicBezTo>
                  <a:pt x="1811703" y="169164"/>
                  <a:pt x="1808766" y="170926"/>
                  <a:pt x="1805242" y="170926"/>
                </a:cubicBezTo>
                <a:cubicBezTo>
                  <a:pt x="1792320" y="165287"/>
                  <a:pt x="1783510" y="161058"/>
                  <a:pt x="1778811" y="158239"/>
                </a:cubicBezTo>
                <a:cubicBezTo>
                  <a:pt x="1776696" y="156829"/>
                  <a:pt x="1775639" y="154597"/>
                  <a:pt x="1775639" y="151543"/>
                </a:cubicBezTo>
                <a:cubicBezTo>
                  <a:pt x="1775639" y="149663"/>
                  <a:pt x="1776050" y="147607"/>
                  <a:pt x="1776872" y="145375"/>
                </a:cubicBezTo>
                <a:cubicBezTo>
                  <a:pt x="1777694" y="143143"/>
                  <a:pt x="1778105" y="141557"/>
                  <a:pt x="1778105" y="140618"/>
                </a:cubicBezTo>
                <a:cubicBezTo>
                  <a:pt x="1778105" y="138973"/>
                  <a:pt x="1779867" y="133217"/>
                  <a:pt x="1783392" y="123349"/>
                </a:cubicBezTo>
                <a:lnTo>
                  <a:pt x="1785859" y="131102"/>
                </a:lnTo>
                <a:lnTo>
                  <a:pt x="1788679" y="136741"/>
                </a:lnTo>
                <a:cubicBezTo>
                  <a:pt x="1789383" y="137681"/>
                  <a:pt x="1790558" y="138151"/>
                  <a:pt x="1792203" y="138151"/>
                </a:cubicBezTo>
                <a:cubicBezTo>
                  <a:pt x="1793847" y="138151"/>
                  <a:pt x="1795139" y="137916"/>
                  <a:pt x="1796079" y="137446"/>
                </a:cubicBezTo>
                <a:cubicBezTo>
                  <a:pt x="1797489" y="136741"/>
                  <a:pt x="1802893" y="135214"/>
                  <a:pt x="1812291" y="132864"/>
                </a:cubicBezTo>
                <a:cubicBezTo>
                  <a:pt x="1840485" y="125346"/>
                  <a:pt x="1856109" y="120177"/>
                  <a:pt x="1859163" y="117358"/>
                </a:cubicBezTo>
                <a:cubicBezTo>
                  <a:pt x="1865742" y="110779"/>
                  <a:pt x="1869383" y="106197"/>
                  <a:pt x="1870089" y="103613"/>
                </a:cubicBezTo>
                <a:close/>
                <a:moveTo>
                  <a:pt x="1740749" y="89868"/>
                </a:moveTo>
                <a:lnTo>
                  <a:pt x="1747092" y="102556"/>
                </a:lnTo>
                <a:lnTo>
                  <a:pt x="1761542" y="117358"/>
                </a:lnTo>
                <a:cubicBezTo>
                  <a:pt x="1762951" y="119002"/>
                  <a:pt x="1763656" y="122292"/>
                  <a:pt x="1763656" y="127225"/>
                </a:cubicBezTo>
                <a:cubicBezTo>
                  <a:pt x="1763656" y="132864"/>
                  <a:pt x="1762775" y="138856"/>
                  <a:pt x="1761013" y="145199"/>
                </a:cubicBezTo>
                <a:cubicBezTo>
                  <a:pt x="1759251" y="151543"/>
                  <a:pt x="1757312" y="155419"/>
                  <a:pt x="1755198" y="156829"/>
                </a:cubicBezTo>
                <a:cubicBezTo>
                  <a:pt x="1751204" y="160118"/>
                  <a:pt x="1736637" y="163878"/>
                  <a:pt x="1711497" y="168107"/>
                </a:cubicBezTo>
                <a:cubicBezTo>
                  <a:pt x="1717841" y="160823"/>
                  <a:pt x="1722657" y="152776"/>
                  <a:pt x="1725947" y="143966"/>
                </a:cubicBezTo>
                <a:cubicBezTo>
                  <a:pt x="1729236" y="135155"/>
                  <a:pt x="1732643" y="123231"/>
                  <a:pt x="1736167" y="108195"/>
                </a:cubicBezTo>
                <a:close/>
                <a:moveTo>
                  <a:pt x="3084392" y="89516"/>
                </a:moveTo>
                <a:cubicBezTo>
                  <a:pt x="3074290" y="90691"/>
                  <a:pt x="3067829" y="91278"/>
                  <a:pt x="3065009" y="91278"/>
                </a:cubicBezTo>
                <a:cubicBezTo>
                  <a:pt x="3063600" y="91278"/>
                  <a:pt x="3059371" y="91748"/>
                  <a:pt x="3052322" y="92688"/>
                </a:cubicBezTo>
                <a:cubicBezTo>
                  <a:pt x="3052557" y="94098"/>
                  <a:pt x="3053379" y="100089"/>
                  <a:pt x="3054789" y="110662"/>
                </a:cubicBezTo>
                <a:lnTo>
                  <a:pt x="3108005" y="100794"/>
                </a:lnTo>
                <a:lnTo>
                  <a:pt x="3109415" y="95507"/>
                </a:lnTo>
                <a:cubicBezTo>
                  <a:pt x="3107770" y="95507"/>
                  <a:pt x="3106478" y="95390"/>
                  <a:pt x="3105538" y="95155"/>
                </a:cubicBezTo>
                <a:cubicBezTo>
                  <a:pt x="3102954" y="94685"/>
                  <a:pt x="3100487" y="93628"/>
                  <a:pt x="3098137" y="91983"/>
                </a:cubicBezTo>
                <a:cubicBezTo>
                  <a:pt x="3096963" y="91043"/>
                  <a:pt x="3095612" y="90397"/>
                  <a:pt x="3094084" y="90045"/>
                </a:cubicBezTo>
                <a:cubicBezTo>
                  <a:pt x="3092557" y="89692"/>
                  <a:pt x="3089326" y="89516"/>
                  <a:pt x="3084392" y="89516"/>
                </a:cubicBezTo>
                <a:close/>
                <a:moveTo>
                  <a:pt x="139396" y="88811"/>
                </a:moveTo>
                <a:lnTo>
                  <a:pt x="138339" y="89164"/>
                </a:lnTo>
                <a:cubicBezTo>
                  <a:pt x="137399" y="89399"/>
                  <a:pt x="136107" y="89986"/>
                  <a:pt x="134462" y="90926"/>
                </a:cubicBezTo>
                <a:cubicBezTo>
                  <a:pt x="132817" y="91865"/>
                  <a:pt x="131055" y="92805"/>
                  <a:pt x="129176" y="93745"/>
                </a:cubicBezTo>
                <a:cubicBezTo>
                  <a:pt x="128236" y="94215"/>
                  <a:pt x="127355" y="100970"/>
                  <a:pt x="126532" y="114010"/>
                </a:cubicBezTo>
                <a:cubicBezTo>
                  <a:pt x="125710" y="127049"/>
                  <a:pt x="125064" y="138914"/>
                  <a:pt x="124594" y="149604"/>
                </a:cubicBezTo>
                <a:cubicBezTo>
                  <a:pt x="124124" y="160295"/>
                  <a:pt x="123772" y="168694"/>
                  <a:pt x="123537" y="174803"/>
                </a:cubicBezTo>
                <a:cubicBezTo>
                  <a:pt x="123302" y="180207"/>
                  <a:pt x="122891" y="189957"/>
                  <a:pt x="122303" y="204054"/>
                </a:cubicBezTo>
                <a:cubicBezTo>
                  <a:pt x="121716" y="218151"/>
                  <a:pt x="121187" y="227079"/>
                  <a:pt x="120718" y="230838"/>
                </a:cubicBezTo>
                <a:cubicBezTo>
                  <a:pt x="134814" y="192542"/>
                  <a:pt x="141863" y="156242"/>
                  <a:pt x="141863" y="121939"/>
                </a:cubicBezTo>
                <a:cubicBezTo>
                  <a:pt x="141863" y="109957"/>
                  <a:pt x="141041" y="98914"/>
                  <a:pt x="139396" y="88811"/>
                </a:cubicBezTo>
                <a:close/>
                <a:moveTo>
                  <a:pt x="4331834" y="78943"/>
                </a:moveTo>
                <a:cubicBezTo>
                  <a:pt x="4306460" y="85992"/>
                  <a:pt x="4287899" y="90691"/>
                  <a:pt x="4276151" y="93040"/>
                </a:cubicBezTo>
                <a:cubicBezTo>
                  <a:pt x="4276386" y="93510"/>
                  <a:pt x="4276680" y="94215"/>
                  <a:pt x="4277032" y="95155"/>
                </a:cubicBezTo>
                <a:cubicBezTo>
                  <a:pt x="4277385" y="96095"/>
                  <a:pt x="4277913" y="97152"/>
                  <a:pt x="4278618" y="98327"/>
                </a:cubicBezTo>
                <a:cubicBezTo>
                  <a:pt x="4279558" y="99971"/>
                  <a:pt x="4281026" y="101440"/>
                  <a:pt x="4283023" y="102732"/>
                </a:cubicBezTo>
                <a:cubicBezTo>
                  <a:pt x="4285020" y="104024"/>
                  <a:pt x="4286489" y="104670"/>
                  <a:pt x="4287429" y="104670"/>
                </a:cubicBezTo>
                <a:cubicBezTo>
                  <a:pt x="4292363" y="105375"/>
                  <a:pt x="4298824" y="103672"/>
                  <a:pt x="4306812" y="99560"/>
                </a:cubicBezTo>
                <a:cubicBezTo>
                  <a:pt x="4314800" y="95448"/>
                  <a:pt x="4320674" y="91161"/>
                  <a:pt x="4324433" y="86697"/>
                </a:cubicBezTo>
                <a:cubicBezTo>
                  <a:pt x="4321614" y="91631"/>
                  <a:pt x="4319323" y="96330"/>
                  <a:pt x="4317561" y="100794"/>
                </a:cubicBezTo>
                <a:cubicBezTo>
                  <a:pt x="4315799" y="105258"/>
                  <a:pt x="4314448" y="109252"/>
                  <a:pt x="4313508" y="112776"/>
                </a:cubicBezTo>
                <a:cubicBezTo>
                  <a:pt x="4311863" y="118415"/>
                  <a:pt x="4310101" y="122996"/>
                  <a:pt x="4308222" y="126521"/>
                </a:cubicBezTo>
                <a:lnTo>
                  <a:pt x="4306812" y="128283"/>
                </a:lnTo>
                <a:cubicBezTo>
                  <a:pt x="4309397" y="127813"/>
                  <a:pt x="4313038" y="126873"/>
                  <a:pt x="4317738" y="125463"/>
                </a:cubicBezTo>
                <a:cubicBezTo>
                  <a:pt x="4322201" y="118415"/>
                  <a:pt x="4325667" y="111601"/>
                  <a:pt x="4328134" y="105023"/>
                </a:cubicBezTo>
                <a:cubicBezTo>
                  <a:pt x="4330601" y="98444"/>
                  <a:pt x="4331247" y="94332"/>
                  <a:pt x="4330072" y="92688"/>
                </a:cubicBezTo>
                <a:cubicBezTo>
                  <a:pt x="4329367" y="91513"/>
                  <a:pt x="4329015" y="90338"/>
                  <a:pt x="4329015" y="89164"/>
                </a:cubicBezTo>
                <a:cubicBezTo>
                  <a:pt x="4329015" y="87519"/>
                  <a:pt x="4329426" y="85639"/>
                  <a:pt x="4330248" y="83525"/>
                </a:cubicBezTo>
                <a:cubicBezTo>
                  <a:pt x="4331070" y="81410"/>
                  <a:pt x="4331599" y="79883"/>
                  <a:pt x="4331834" y="78943"/>
                </a:cubicBezTo>
                <a:close/>
                <a:moveTo>
                  <a:pt x="634982" y="78238"/>
                </a:moveTo>
                <a:lnTo>
                  <a:pt x="620180" y="82115"/>
                </a:lnTo>
                <a:cubicBezTo>
                  <a:pt x="620180" y="88694"/>
                  <a:pt x="620062" y="92570"/>
                  <a:pt x="619827" y="93745"/>
                </a:cubicBezTo>
                <a:lnTo>
                  <a:pt x="619827" y="94450"/>
                </a:lnTo>
                <a:cubicBezTo>
                  <a:pt x="639328" y="89046"/>
                  <a:pt x="651311" y="85639"/>
                  <a:pt x="655775" y="84230"/>
                </a:cubicBezTo>
                <a:cubicBezTo>
                  <a:pt x="653660" y="83760"/>
                  <a:pt x="650253" y="82702"/>
                  <a:pt x="645554" y="81058"/>
                </a:cubicBezTo>
                <a:cubicBezTo>
                  <a:pt x="641795" y="78943"/>
                  <a:pt x="638271" y="78003"/>
                  <a:pt x="634982" y="78238"/>
                </a:cubicBezTo>
                <a:close/>
                <a:moveTo>
                  <a:pt x="135942" y="76984"/>
                </a:moveTo>
                <a:lnTo>
                  <a:pt x="137634" y="80705"/>
                </a:lnTo>
                <a:lnTo>
                  <a:pt x="137281" y="78591"/>
                </a:lnTo>
                <a:close/>
                <a:moveTo>
                  <a:pt x="3981095" y="65199"/>
                </a:moveTo>
                <a:cubicBezTo>
                  <a:pt x="3981330" y="67548"/>
                  <a:pt x="3982388" y="69663"/>
                  <a:pt x="3984267" y="71542"/>
                </a:cubicBezTo>
                <a:cubicBezTo>
                  <a:pt x="3986147" y="73422"/>
                  <a:pt x="3988966" y="74714"/>
                  <a:pt x="3992725" y="75419"/>
                </a:cubicBezTo>
                <a:cubicBezTo>
                  <a:pt x="3999539" y="76594"/>
                  <a:pt x="4006587" y="78415"/>
                  <a:pt x="4013871" y="80882"/>
                </a:cubicBezTo>
                <a:cubicBezTo>
                  <a:pt x="4021154" y="83349"/>
                  <a:pt x="4025501" y="85639"/>
                  <a:pt x="4026910" y="87754"/>
                </a:cubicBezTo>
                <a:cubicBezTo>
                  <a:pt x="4027850" y="88929"/>
                  <a:pt x="4028027" y="90397"/>
                  <a:pt x="4027439" y="92159"/>
                </a:cubicBezTo>
                <a:cubicBezTo>
                  <a:pt x="4026852" y="93921"/>
                  <a:pt x="4026029" y="95683"/>
                  <a:pt x="4024972" y="97446"/>
                </a:cubicBezTo>
                <a:cubicBezTo>
                  <a:pt x="4023915" y="99208"/>
                  <a:pt x="4023269" y="100559"/>
                  <a:pt x="4023034" y="101498"/>
                </a:cubicBezTo>
                <a:cubicBezTo>
                  <a:pt x="4023034" y="136741"/>
                  <a:pt x="4022094" y="164583"/>
                  <a:pt x="4020214" y="185023"/>
                </a:cubicBezTo>
                <a:cubicBezTo>
                  <a:pt x="4019510" y="192777"/>
                  <a:pt x="4015809" y="199355"/>
                  <a:pt x="4009113" y="204759"/>
                </a:cubicBezTo>
                <a:cubicBezTo>
                  <a:pt x="4002417" y="210163"/>
                  <a:pt x="3994605" y="214509"/>
                  <a:pt x="3985677" y="217799"/>
                </a:cubicBezTo>
                <a:cubicBezTo>
                  <a:pt x="3986851" y="202997"/>
                  <a:pt x="3987439" y="181851"/>
                  <a:pt x="3987439" y="154362"/>
                </a:cubicBezTo>
                <a:cubicBezTo>
                  <a:pt x="3987439" y="126403"/>
                  <a:pt x="3986851" y="106315"/>
                  <a:pt x="3985677" y="94098"/>
                </a:cubicBezTo>
                <a:cubicBezTo>
                  <a:pt x="3985442" y="92923"/>
                  <a:pt x="3984150" y="90691"/>
                  <a:pt x="3981800" y="87401"/>
                </a:cubicBezTo>
                <a:cubicBezTo>
                  <a:pt x="3979451" y="84112"/>
                  <a:pt x="3978276" y="81880"/>
                  <a:pt x="3978276" y="80705"/>
                </a:cubicBezTo>
                <a:close/>
                <a:moveTo>
                  <a:pt x="1480935" y="44406"/>
                </a:moveTo>
                <a:cubicBezTo>
                  <a:pt x="1482345" y="43701"/>
                  <a:pt x="1484812" y="44171"/>
                  <a:pt x="1488336" y="45815"/>
                </a:cubicBezTo>
                <a:cubicBezTo>
                  <a:pt x="1491860" y="47460"/>
                  <a:pt x="1495561" y="49868"/>
                  <a:pt x="1499437" y="53040"/>
                </a:cubicBezTo>
                <a:cubicBezTo>
                  <a:pt x="1503314" y="56212"/>
                  <a:pt x="1506192" y="59560"/>
                  <a:pt x="1508072" y="63084"/>
                </a:cubicBezTo>
                <a:cubicBezTo>
                  <a:pt x="1513241" y="71777"/>
                  <a:pt x="1515238" y="76476"/>
                  <a:pt x="1514063" y="77181"/>
                </a:cubicBezTo>
                <a:cubicBezTo>
                  <a:pt x="1513828" y="77181"/>
                  <a:pt x="1512830" y="77710"/>
                  <a:pt x="1511068" y="78767"/>
                </a:cubicBezTo>
                <a:cubicBezTo>
                  <a:pt x="1509305" y="79824"/>
                  <a:pt x="1507367" y="80705"/>
                  <a:pt x="1505252" y="81410"/>
                </a:cubicBezTo>
                <a:cubicBezTo>
                  <a:pt x="1503373" y="82350"/>
                  <a:pt x="1498909" y="95507"/>
                  <a:pt x="1491860" y="120882"/>
                </a:cubicBezTo>
                <a:cubicBezTo>
                  <a:pt x="1492800" y="121587"/>
                  <a:pt x="1493975" y="122879"/>
                  <a:pt x="1495384" y="124759"/>
                </a:cubicBezTo>
                <a:cubicBezTo>
                  <a:pt x="1497264" y="128048"/>
                  <a:pt x="1498204" y="130985"/>
                  <a:pt x="1498204" y="133569"/>
                </a:cubicBezTo>
                <a:cubicBezTo>
                  <a:pt x="1498204" y="138033"/>
                  <a:pt x="1495737" y="141557"/>
                  <a:pt x="1490803" y="144142"/>
                </a:cubicBezTo>
                <a:cubicBezTo>
                  <a:pt x="1497147" y="150955"/>
                  <a:pt x="1502433" y="157534"/>
                  <a:pt x="1506662" y="163878"/>
                </a:cubicBezTo>
                <a:cubicBezTo>
                  <a:pt x="1508542" y="167637"/>
                  <a:pt x="1509482" y="169869"/>
                  <a:pt x="1509482" y="170574"/>
                </a:cubicBezTo>
                <a:cubicBezTo>
                  <a:pt x="1509482" y="171514"/>
                  <a:pt x="1509246" y="172101"/>
                  <a:pt x="1508777" y="172336"/>
                </a:cubicBezTo>
                <a:cubicBezTo>
                  <a:pt x="1508307" y="172571"/>
                  <a:pt x="1507837" y="172747"/>
                  <a:pt x="1507367" y="172865"/>
                </a:cubicBezTo>
                <a:cubicBezTo>
                  <a:pt x="1506897" y="172982"/>
                  <a:pt x="1506545" y="173041"/>
                  <a:pt x="1506310" y="173041"/>
                </a:cubicBezTo>
                <a:lnTo>
                  <a:pt x="1497851" y="177270"/>
                </a:lnTo>
                <a:cubicBezTo>
                  <a:pt x="1481640" y="186198"/>
                  <a:pt x="1467895" y="193246"/>
                  <a:pt x="1456618" y="198415"/>
                </a:cubicBezTo>
                <a:cubicBezTo>
                  <a:pt x="1486691" y="193246"/>
                  <a:pt x="1503608" y="190075"/>
                  <a:pt x="1507367" y="188900"/>
                </a:cubicBezTo>
                <a:cubicBezTo>
                  <a:pt x="1509482" y="188195"/>
                  <a:pt x="1511596" y="187843"/>
                  <a:pt x="1513711" y="187843"/>
                </a:cubicBezTo>
                <a:cubicBezTo>
                  <a:pt x="1519584" y="187843"/>
                  <a:pt x="1525634" y="189781"/>
                  <a:pt x="1531860" y="193658"/>
                </a:cubicBezTo>
                <a:cubicBezTo>
                  <a:pt x="1538087" y="197534"/>
                  <a:pt x="1542962" y="202057"/>
                  <a:pt x="1546486" y="207226"/>
                </a:cubicBezTo>
                <a:cubicBezTo>
                  <a:pt x="1547896" y="209341"/>
                  <a:pt x="1548601" y="211573"/>
                  <a:pt x="1548601" y="213922"/>
                </a:cubicBezTo>
                <a:cubicBezTo>
                  <a:pt x="1548601" y="218151"/>
                  <a:pt x="1547015" y="221969"/>
                  <a:pt x="1543843" y="225376"/>
                </a:cubicBezTo>
                <a:cubicBezTo>
                  <a:pt x="1540671" y="228783"/>
                  <a:pt x="1536853" y="230486"/>
                  <a:pt x="1532389" y="230486"/>
                </a:cubicBezTo>
                <a:cubicBezTo>
                  <a:pt x="1529100" y="230486"/>
                  <a:pt x="1526163" y="229664"/>
                  <a:pt x="1523578" y="228019"/>
                </a:cubicBezTo>
                <a:lnTo>
                  <a:pt x="1515825" y="224847"/>
                </a:lnTo>
                <a:cubicBezTo>
                  <a:pt x="1513476" y="223672"/>
                  <a:pt x="1511244" y="222909"/>
                  <a:pt x="1509129" y="222556"/>
                </a:cubicBezTo>
                <a:cubicBezTo>
                  <a:pt x="1507015" y="222204"/>
                  <a:pt x="1503255" y="222028"/>
                  <a:pt x="1497851" y="222028"/>
                </a:cubicBezTo>
                <a:cubicBezTo>
                  <a:pt x="1489863" y="222028"/>
                  <a:pt x="1477881" y="222850"/>
                  <a:pt x="1461904" y="224495"/>
                </a:cubicBezTo>
                <a:cubicBezTo>
                  <a:pt x="1462374" y="226374"/>
                  <a:pt x="1462844" y="229429"/>
                  <a:pt x="1463314" y="233658"/>
                </a:cubicBezTo>
                <a:cubicBezTo>
                  <a:pt x="1463784" y="240236"/>
                  <a:pt x="1464019" y="245053"/>
                  <a:pt x="1464019" y="248107"/>
                </a:cubicBezTo>
                <a:cubicBezTo>
                  <a:pt x="1464019" y="258445"/>
                  <a:pt x="1462961" y="267314"/>
                  <a:pt x="1460847" y="274715"/>
                </a:cubicBezTo>
                <a:cubicBezTo>
                  <a:pt x="1458732" y="282116"/>
                  <a:pt x="1455795" y="287344"/>
                  <a:pt x="1452036" y="290398"/>
                </a:cubicBezTo>
                <a:cubicBezTo>
                  <a:pt x="1445928" y="295097"/>
                  <a:pt x="1437234" y="299091"/>
                  <a:pt x="1425957" y="302381"/>
                </a:cubicBezTo>
                <a:lnTo>
                  <a:pt x="1399877" y="261147"/>
                </a:lnTo>
                <a:cubicBezTo>
                  <a:pt x="1417264" y="261147"/>
                  <a:pt x="1426427" y="260325"/>
                  <a:pt x="1427367" y="258680"/>
                </a:cubicBezTo>
                <a:cubicBezTo>
                  <a:pt x="1429481" y="252571"/>
                  <a:pt x="1430538" y="247050"/>
                  <a:pt x="1430538" y="242116"/>
                </a:cubicBezTo>
                <a:cubicBezTo>
                  <a:pt x="1430538" y="237182"/>
                  <a:pt x="1429716" y="232601"/>
                  <a:pt x="1428071" y="228371"/>
                </a:cubicBezTo>
                <a:lnTo>
                  <a:pt x="1416089" y="230134"/>
                </a:lnTo>
                <a:cubicBezTo>
                  <a:pt x="1383431" y="234363"/>
                  <a:pt x="1361815" y="236830"/>
                  <a:pt x="1351243" y="237535"/>
                </a:cubicBezTo>
                <a:cubicBezTo>
                  <a:pt x="1347248" y="237769"/>
                  <a:pt x="1344488" y="237300"/>
                  <a:pt x="1342961" y="236125"/>
                </a:cubicBezTo>
                <a:cubicBezTo>
                  <a:pt x="1341433" y="234950"/>
                  <a:pt x="1339143" y="232131"/>
                  <a:pt x="1336088" y="227667"/>
                </a:cubicBezTo>
                <a:cubicBezTo>
                  <a:pt x="1332799" y="223438"/>
                  <a:pt x="1331154" y="219561"/>
                  <a:pt x="1331154" y="216037"/>
                </a:cubicBezTo>
                <a:cubicBezTo>
                  <a:pt x="1331154" y="213217"/>
                  <a:pt x="1332447" y="211807"/>
                  <a:pt x="1335031" y="211807"/>
                </a:cubicBezTo>
                <a:cubicBezTo>
                  <a:pt x="1335501" y="212512"/>
                  <a:pt x="1337381" y="212865"/>
                  <a:pt x="1340670" y="212865"/>
                </a:cubicBezTo>
                <a:cubicBezTo>
                  <a:pt x="1349598" y="212865"/>
                  <a:pt x="1374150" y="210163"/>
                  <a:pt x="1414327" y="204759"/>
                </a:cubicBezTo>
                <a:cubicBezTo>
                  <a:pt x="1411507" y="200765"/>
                  <a:pt x="1409158" y="194774"/>
                  <a:pt x="1407278" y="186785"/>
                </a:cubicBezTo>
                <a:cubicBezTo>
                  <a:pt x="1411272" y="191249"/>
                  <a:pt x="1414738" y="194245"/>
                  <a:pt x="1417675" y="195772"/>
                </a:cubicBezTo>
                <a:cubicBezTo>
                  <a:pt x="1420612" y="197299"/>
                  <a:pt x="1424547" y="198063"/>
                  <a:pt x="1429481" y="198063"/>
                </a:cubicBezTo>
                <a:cubicBezTo>
                  <a:pt x="1433240" y="198063"/>
                  <a:pt x="1436530" y="198885"/>
                  <a:pt x="1439349" y="200530"/>
                </a:cubicBezTo>
                <a:cubicBezTo>
                  <a:pt x="1446867" y="190427"/>
                  <a:pt x="1451566" y="182321"/>
                  <a:pt x="1453446" y="176213"/>
                </a:cubicBezTo>
                <a:cubicBezTo>
                  <a:pt x="1432535" y="179737"/>
                  <a:pt x="1414562" y="183085"/>
                  <a:pt x="1399525" y="186257"/>
                </a:cubicBezTo>
                <a:cubicBezTo>
                  <a:pt x="1384488" y="189428"/>
                  <a:pt x="1376500" y="191837"/>
                  <a:pt x="1375560" y="193481"/>
                </a:cubicBezTo>
                <a:cubicBezTo>
                  <a:pt x="1373445" y="196066"/>
                  <a:pt x="1371096" y="197358"/>
                  <a:pt x="1368511" y="197358"/>
                </a:cubicBezTo>
                <a:cubicBezTo>
                  <a:pt x="1360993" y="193364"/>
                  <a:pt x="1355472" y="190192"/>
                  <a:pt x="1351948" y="187843"/>
                </a:cubicBezTo>
                <a:cubicBezTo>
                  <a:pt x="1350773" y="186668"/>
                  <a:pt x="1350186" y="185023"/>
                  <a:pt x="1350186" y="182909"/>
                </a:cubicBezTo>
                <a:cubicBezTo>
                  <a:pt x="1350186" y="179619"/>
                  <a:pt x="1350890" y="176036"/>
                  <a:pt x="1352300" y="172160"/>
                </a:cubicBezTo>
                <a:cubicBezTo>
                  <a:pt x="1353710" y="168283"/>
                  <a:pt x="1354532" y="166110"/>
                  <a:pt x="1354767" y="165640"/>
                </a:cubicBezTo>
                <a:cubicBezTo>
                  <a:pt x="1354767" y="164230"/>
                  <a:pt x="1356412" y="159531"/>
                  <a:pt x="1359701" y="151543"/>
                </a:cubicBezTo>
                <a:lnTo>
                  <a:pt x="1362520" y="157182"/>
                </a:lnTo>
                <a:cubicBezTo>
                  <a:pt x="1362990" y="160236"/>
                  <a:pt x="1363577" y="162468"/>
                  <a:pt x="1364282" y="163878"/>
                </a:cubicBezTo>
                <a:lnTo>
                  <a:pt x="1366749" y="165640"/>
                </a:lnTo>
                <a:cubicBezTo>
                  <a:pt x="1367924" y="165875"/>
                  <a:pt x="1386074" y="162879"/>
                  <a:pt x="1421199" y="156653"/>
                </a:cubicBezTo>
                <a:cubicBezTo>
                  <a:pt x="1456324" y="150427"/>
                  <a:pt x="1474474" y="146961"/>
                  <a:pt x="1475649" y="146256"/>
                </a:cubicBezTo>
                <a:cubicBezTo>
                  <a:pt x="1476119" y="146021"/>
                  <a:pt x="1476530" y="145669"/>
                  <a:pt x="1476882" y="145199"/>
                </a:cubicBezTo>
                <a:cubicBezTo>
                  <a:pt x="1477235" y="144729"/>
                  <a:pt x="1477763" y="144377"/>
                  <a:pt x="1478468" y="144142"/>
                </a:cubicBezTo>
                <a:lnTo>
                  <a:pt x="1473182" y="141322"/>
                </a:lnTo>
                <a:cubicBezTo>
                  <a:pt x="1471537" y="140383"/>
                  <a:pt x="1456618" y="141969"/>
                  <a:pt x="1428424" y="146080"/>
                </a:cubicBezTo>
                <a:cubicBezTo>
                  <a:pt x="1400230" y="150192"/>
                  <a:pt x="1382374" y="153070"/>
                  <a:pt x="1374855" y="154715"/>
                </a:cubicBezTo>
                <a:cubicBezTo>
                  <a:pt x="1372271" y="155185"/>
                  <a:pt x="1369745" y="153834"/>
                  <a:pt x="1367278" y="150662"/>
                </a:cubicBezTo>
                <a:cubicBezTo>
                  <a:pt x="1364811" y="147490"/>
                  <a:pt x="1363695" y="144377"/>
                  <a:pt x="1363930" y="141322"/>
                </a:cubicBezTo>
                <a:lnTo>
                  <a:pt x="1364282" y="139560"/>
                </a:lnTo>
                <a:cubicBezTo>
                  <a:pt x="1364282" y="136271"/>
                  <a:pt x="1364400" y="133687"/>
                  <a:pt x="1364635" y="131807"/>
                </a:cubicBezTo>
                <a:cubicBezTo>
                  <a:pt x="1364635" y="130162"/>
                  <a:pt x="1364694" y="127872"/>
                  <a:pt x="1364811" y="124935"/>
                </a:cubicBezTo>
                <a:cubicBezTo>
                  <a:pt x="1364929" y="121998"/>
                  <a:pt x="1364870" y="119472"/>
                  <a:pt x="1364635" y="117358"/>
                </a:cubicBezTo>
                <a:cubicBezTo>
                  <a:pt x="1364635" y="113833"/>
                  <a:pt x="1363989" y="110544"/>
                  <a:pt x="1362696" y="107490"/>
                </a:cubicBezTo>
                <a:cubicBezTo>
                  <a:pt x="1361404" y="104435"/>
                  <a:pt x="1359701" y="100911"/>
                  <a:pt x="1357586" y="96917"/>
                </a:cubicBezTo>
                <a:cubicBezTo>
                  <a:pt x="1357116" y="95507"/>
                  <a:pt x="1356588" y="94274"/>
                  <a:pt x="1356001" y="93216"/>
                </a:cubicBezTo>
                <a:cubicBezTo>
                  <a:pt x="1355413" y="92159"/>
                  <a:pt x="1354884" y="91043"/>
                  <a:pt x="1354415" y="89868"/>
                </a:cubicBezTo>
                <a:cubicBezTo>
                  <a:pt x="1353475" y="90808"/>
                  <a:pt x="1352653" y="92218"/>
                  <a:pt x="1351948" y="94098"/>
                </a:cubicBezTo>
                <a:cubicBezTo>
                  <a:pt x="1349128" y="126051"/>
                  <a:pt x="1345310" y="154597"/>
                  <a:pt x="1340494" y="179737"/>
                </a:cubicBezTo>
                <a:cubicBezTo>
                  <a:pt x="1335677" y="204876"/>
                  <a:pt x="1328100" y="226844"/>
                  <a:pt x="1317762" y="245640"/>
                </a:cubicBezTo>
                <a:cubicBezTo>
                  <a:pt x="1307424" y="264436"/>
                  <a:pt x="1293680" y="275479"/>
                  <a:pt x="1276529" y="278768"/>
                </a:cubicBezTo>
                <a:cubicBezTo>
                  <a:pt x="1282872" y="269840"/>
                  <a:pt x="1288863" y="255273"/>
                  <a:pt x="1294502" y="235068"/>
                </a:cubicBezTo>
                <a:cubicBezTo>
                  <a:pt x="1300141" y="214862"/>
                  <a:pt x="1304605" y="192835"/>
                  <a:pt x="1307894" y="168988"/>
                </a:cubicBezTo>
                <a:cubicBezTo>
                  <a:pt x="1311184" y="145140"/>
                  <a:pt x="1312828" y="123819"/>
                  <a:pt x="1312828" y="105023"/>
                </a:cubicBezTo>
                <a:cubicBezTo>
                  <a:pt x="1312828" y="94685"/>
                  <a:pt x="1312358" y="86227"/>
                  <a:pt x="1311419" y="79648"/>
                </a:cubicBezTo>
                <a:cubicBezTo>
                  <a:pt x="1310949" y="77769"/>
                  <a:pt x="1309774" y="76241"/>
                  <a:pt x="1307894" y="75067"/>
                </a:cubicBezTo>
                <a:cubicBezTo>
                  <a:pt x="1306015" y="73892"/>
                  <a:pt x="1305075" y="72600"/>
                  <a:pt x="1305075" y="71190"/>
                </a:cubicBezTo>
                <a:cubicBezTo>
                  <a:pt x="1305075" y="63437"/>
                  <a:pt x="1306485" y="57915"/>
                  <a:pt x="1309304" y="54626"/>
                </a:cubicBezTo>
                <a:cubicBezTo>
                  <a:pt x="1309539" y="57210"/>
                  <a:pt x="1310361" y="59501"/>
                  <a:pt x="1311771" y="61498"/>
                </a:cubicBezTo>
                <a:cubicBezTo>
                  <a:pt x="1313181" y="63495"/>
                  <a:pt x="1315178" y="64729"/>
                  <a:pt x="1317762" y="65199"/>
                </a:cubicBezTo>
                <a:cubicBezTo>
                  <a:pt x="1322696" y="66843"/>
                  <a:pt x="1333621" y="68136"/>
                  <a:pt x="1350538" y="69075"/>
                </a:cubicBezTo>
                <a:cubicBezTo>
                  <a:pt x="1351008" y="69310"/>
                  <a:pt x="1351478" y="69780"/>
                  <a:pt x="1351948" y="70485"/>
                </a:cubicBezTo>
                <a:lnTo>
                  <a:pt x="1351948" y="64846"/>
                </a:lnTo>
                <a:cubicBezTo>
                  <a:pt x="1352182" y="64376"/>
                  <a:pt x="1353416" y="65845"/>
                  <a:pt x="1355648" y="69252"/>
                </a:cubicBezTo>
                <a:cubicBezTo>
                  <a:pt x="1357880" y="72658"/>
                  <a:pt x="1359818" y="75184"/>
                  <a:pt x="1361463" y="76829"/>
                </a:cubicBezTo>
                <a:cubicBezTo>
                  <a:pt x="1363343" y="78708"/>
                  <a:pt x="1365457" y="80235"/>
                  <a:pt x="1367807" y="81410"/>
                </a:cubicBezTo>
                <a:cubicBezTo>
                  <a:pt x="1370156" y="82585"/>
                  <a:pt x="1371918" y="83290"/>
                  <a:pt x="1373093" y="83525"/>
                </a:cubicBezTo>
                <a:cubicBezTo>
                  <a:pt x="1374268" y="83760"/>
                  <a:pt x="1376206" y="84230"/>
                  <a:pt x="1378908" y="84934"/>
                </a:cubicBezTo>
                <a:cubicBezTo>
                  <a:pt x="1381610" y="85639"/>
                  <a:pt x="1383490" y="86755"/>
                  <a:pt x="1384547" y="88283"/>
                </a:cubicBezTo>
                <a:cubicBezTo>
                  <a:pt x="1385604" y="89810"/>
                  <a:pt x="1386955" y="92453"/>
                  <a:pt x="1388600" y="96212"/>
                </a:cubicBezTo>
                <a:lnTo>
                  <a:pt x="1390010" y="100089"/>
                </a:lnTo>
                <a:cubicBezTo>
                  <a:pt x="1401757" y="97739"/>
                  <a:pt x="1412976" y="95331"/>
                  <a:pt x="1423666" y="92864"/>
                </a:cubicBezTo>
                <a:cubicBezTo>
                  <a:pt x="1434356" y="90397"/>
                  <a:pt x="1441699" y="88694"/>
                  <a:pt x="1445692" y="87754"/>
                </a:cubicBezTo>
                <a:cubicBezTo>
                  <a:pt x="1447572" y="87049"/>
                  <a:pt x="1449452" y="86697"/>
                  <a:pt x="1451331" y="86697"/>
                </a:cubicBezTo>
                <a:cubicBezTo>
                  <a:pt x="1455795" y="86697"/>
                  <a:pt x="1460612" y="88106"/>
                  <a:pt x="1465781" y="90926"/>
                </a:cubicBezTo>
                <a:lnTo>
                  <a:pt x="1467191" y="91983"/>
                </a:lnTo>
                <a:cubicBezTo>
                  <a:pt x="1468365" y="83525"/>
                  <a:pt x="1468835" y="78943"/>
                  <a:pt x="1468600" y="78238"/>
                </a:cubicBezTo>
                <a:cubicBezTo>
                  <a:pt x="1468600" y="77769"/>
                  <a:pt x="1452976" y="81175"/>
                  <a:pt x="1421728" y="88459"/>
                </a:cubicBezTo>
                <a:cubicBezTo>
                  <a:pt x="1423372" y="87989"/>
                  <a:pt x="1419966" y="88811"/>
                  <a:pt x="1411507" y="90926"/>
                </a:cubicBezTo>
                <a:cubicBezTo>
                  <a:pt x="1409628" y="91396"/>
                  <a:pt x="1408218" y="91631"/>
                  <a:pt x="1407278" y="91631"/>
                </a:cubicBezTo>
                <a:cubicBezTo>
                  <a:pt x="1404929" y="91631"/>
                  <a:pt x="1402579" y="91102"/>
                  <a:pt x="1400230" y="90045"/>
                </a:cubicBezTo>
                <a:cubicBezTo>
                  <a:pt x="1397880" y="88987"/>
                  <a:pt x="1396118" y="87636"/>
                  <a:pt x="1394944" y="85992"/>
                </a:cubicBezTo>
                <a:cubicBezTo>
                  <a:pt x="1393769" y="84347"/>
                  <a:pt x="1390891" y="81704"/>
                  <a:pt x="1386309" y="78062"/>
                </a:cubicBezTo>
                <a:cubicBezTo>
                  <a:pt x="1381727" y="74420"/>
                  <a:pt x="1379789" y="72600"/>
                  <a:pt x="1380494" y="72600"/>
                </a:cubicBezTo>
                <a:cubicBezTo>
                  <a:pt x="1423255" y="68370"/>
                  <a:pt x="1452976" y="61557"/>
                  <a:pt x="1469658" y="52159"/>
                </a:cubicBezTo>
                <a:close/>
                <a:moveTo>
                  <a:pt x="1804537" y="25022"/>
                </a:moveTo>
                <a:cubicBezTo>
                  <a:pt x="1801953" y="31131"/>
                  <a:pt x="1800661" y="36770"/>
                  <a:pt x="1800661" y="41939"/>
                </a:cubicBezTo>
                <a:cubicBezTo>
                  <a:pt x="1800661" y="44288"/>
                  <a:pt x="1800837" y="46461"/>
                  <a:pt x="1801189" y="48458"/>
                </a:cubicBezTo>
                <a:cubicBezTo>
                  <a:pt x="1801542" y="50456"/>
                  <a:pt x="1801718" y="52394"/>
                  <a:pt x="1801718" y="54273"/>
                </a:cubicBezTo>
                <a:cubicBezTo>
                  <a:pt x="1801718" y="56623"/>
                  <a:pt x="1801248" y="59090"/>
                  <a:pt x="1800308" y="61674"/>
                </a:cubicBezTo>
                <a:cubicBezTo>
                  <a:pt x="1798428" y="68018"/>
                  <a:pt x="1796490" y="73422"/>
                  <a:pt x="1794493" y="77886"/>
                </a:cubicBezTo>
                <a:cubicBezTo>
                  <a:pt x="1792496" y="82350"/>
                  <a:pt x="1790323" y="84582"/>
                  <a:pt x="1787973" y="84582"/>
                </a:cubicBezTo>
                <a:cubicBezTo>
                  <a:pt x="1784684" y="84582"/>
                  <a:pt x="1781219" y="83231"/>
                  <a:pt x="1777577" y="80529"/>
                </a:cubicBezTo>
                <a:cubicBezTo>
                  <a:pt x="1773935" y="77827"/>
                  <a:pt x="1770881" y="74479"/>
                  <a:pt x="1768414" y="70485"/>
                </a:cubicBezTo>
                <a:cubicBezTo>
                  <a:pt x="1765947" y="66491"/>
                  <a:pt x="1764713" y="63084"/>
                  <a:pt x="1764713" y="60265"/>
                </a:cubicBezTo>
                <a:cubicBezTo>
                  <a:pt x="1764009" y="55331"/>
                  <a:pt x="1763656" y="49340"/>
                  <a:pt x="1763656" y="42291"/>
                </a:cubicBezTo>
                <a:cubicBezTo>
                  <a:pt x="1763656" y="37592"/>
                  <a:pt x="1764009" y="35008"/>
                  <a:pt x="1764713" y="34538"/>
                </a:cubicBezTo>
                <a:cubicBezTo>
                  <a:pt x="1766123" y="38062"/>
                  <a:pt x="1768120" y="40881"/>
                  <a:pt x="1770705" y="42996"/>
                </a:cubicBezTo>
                <a:cubicBezTo>
                  <a:pt x="1772114" y="44171"/>
                  <a:pt x="1773759" y="45052"/>
                  <a:pt x="1775639" y="45639"/>
                </a:cubicBezTo>
                <a:cubicBezTo>
                  <a:pt x="1777518" y="46226"/>
                  <a:pt x="1779163" y="46520"/>
                  <a:pt x="1780573" y="46520"/>
                </a:cubicBezTo>
                <a:cubicBezTo>
                  <a:pt x="1789031" y="45580"/>
                  <a:pt x="1797019" y="38414"/>
                  <a:pt x="1804537" y="25022"/>
                </a:cubicBezTo>
                <a:close/>
                <a:moveTo>
                  <a:pt x="609607" y="16916"/>
                </a:moveTo>
                <a:cubicBezTo>
                  <a:pt x="610312" y="17386"/>
                  <a:pt x="611957" y="18737"/>
                  <a:pt x="614541" y="20969"/>
                </a:cubicBezTo>
                <a:cubicBezTo>
                  <a:pt x="617125" y="23201"/>
                  <a:pt x="619710" y="24787"/>
                  <a:pt x="622294" y="25727"/>
                </a:cubicBezTo>
                <a:cubicBezTo>
                  <a:pt x="624174" y="26667"/>
                  <a:pt x="625114" y="27842"/>
                  <a:pt x="625114" y="29251"/>
                </a:cubicBezTo>
                <a:cubicBezTo>
                  <a:pt x="625114" y="30191"/>
                  <a:pt x="624585" y="32012"/>
                  <a:pt x="623528" y="34714"/>
                </a:cubicBezTo>
                <a:cubicBezTo>
                  <a:pt x="622471" y="37416"/>
                  <a:pt x="621824" y="39472"/>
                  <a:pt x="621589" y="40881"/>
                </a:cubicBezTo>
                <a:lnTo>
                  <a:pt x="620532" y="56036"/>
                </a:lnTo>
                <a:cubicBezTo>
                  <a:pt x="626876" y="54156"/>
                  <a:pt x="633572" y="52041"/>
                  <a:pt x="640620" y="49692"/>
                </a:cubicBezTo>
                <a:cubicBezTo>
                  <a:pt x="642735" y="48987"/>
                  <a:pt x="644849" y="48635"/>
                  <a:pt x="646964" y="48635"/>
                </a:cubicBezTo>
                <a:cubicBezTo>
                  <a:pt x="650488" y="48635"/>
                  <a:pt x="654012" y="49516"/>
                  <a:pt x="657537" y="51278"/>
                </a:cubicBezTo>
                <a:cubicBezTo>
                  <a:pt x="661061" y="53040"/>
                  <a:pt x="665173" y="55683"/>
                  <a:pt x="669872" y="59207"/>
                </a:cubicBezTo>
                <a:cubicBezTo>
                  <a:pt x="671986" y="61557"/>
                  <a:pt x="673044" y="64024"/>
                  <a:pt x="673044" y="66608"/>
                </a:cubicBezTo>
                <a:cubicBezTo>
                  <a:pt x="673044" y="70837"/>
                  <a:pt x="671046" y="74949"/>
                  <a:pt x="667052" y="78943"/>
                </a:cubicBezTo>
                <a:cubicBezTo>
                  <a:pt x="671986" y="80588"/>
                  <a:pt x="678447" y="83466"/>
                  <a:pt x="686436" y="87578"/>
                </a:cubicBezTo>
                <a:cubicBezTo>
                  <a:pt x="694424" y="91689"/>
                  <a:pt x="699475" y="94920"/>
                  <a:pt x="701590" y="97269"/>
                </a:cubicBezTo>
                <a:cubicBezTo>
                  <a:pt x="703939" y="100089"/>
                  <a:pt x="704938" y="102027"/>
                  <a:pt x="704586" y="103084"/>
                </a:cubicBezTo>
                <a:cubicBezTo>
                  <a:pt x="704233" y="104142"/>
                  <a:pt x="703587" y="104670"/>
                  <a:pt x="702647" y="104670"/>
                </a:cubicBezTo>
                <a:lnTo>
                  <a:pt x="698066" y="108547"/>
                </a:lnTo>
                <a:cubicBezTo>
                  <a:pt x="696421" y="109722"/>
                  <a:pt x="692544" y="115361"/>
                  <a:pt x="686436" y="125463"/>
                </a:cubicBezTo>
                <a:cubicBezTo>
                  <a:pt x="694189" y="127578"/>
                  <a:pt x="700415" y="132629"/>
                  <a:pt x="705114" y="140618"/>
                </a:cubicBezTo>
                <a:cubicBezTo>
                  <a:pt x="706289" y="142027"/>
                  <a:pt x="706876" y="143789"/>
                  <a:pt x="706876" y="145904"/>
                </a:cubicBezTo>
                <a:cubicBezTo>
                  <a:pt x="706876" y="149898"/>
                  <a:pt x="704586" y="153657"/>
                  <a:pt x="700004" y="157182"/>
                </a:cubicBezTo>
                <a:cubicBezTo>
                  <a:pt x="695422" y="160706"/>
                  <a:pt x="691017" y="162468"/>
                  <a:pt x="686788" y="162468"/>
                </a:cubicBezTo>
                <a:cubicBezTo>
                  <a:pt x="684673" y="162468"/>
                  <a:pt x="683029" y="161998"/>
                  <a:pt x="681854" y="161058"/>
                </a:cubicBezTo>
                <a:cubicBezTo>
                  <a:pt x="680444" y="160118"/>
                  <a:pt x="678565" y="159002"/>
                  <a:pt x="676215" y="157710"/>
                </a:cubicBezTo>
                <a:cubicBezTo>
                  <a:pt x="673866" y="156418"/>
                  <a:pt x="671986" y="155537"/>
                  <a:pt x="670577" y="155067"/>
                </a:cubicBezTo>
                <a:cubicBezTo>
                  <a:pt x="669167" y="154832"/>
                  <a:pt x="641560" y="159884"/>
                  <a:pt x="587757" y="170221"/>
                </a:cubicBezTo>
                <a:lnTo>
                  <a:pt x="546171" y="177975"/>
                </a:lnTo>
                <a:lnTo>
                  <a:pt x="540179" y="179032"/>
                </a:lnTo>
                <a:cubicBezTo>
                  <a:pt x="539709" y="179267"/>
                  <a:pt x="538887" y="179384"/>
                  <a:pt x="537712" y="179384"/>
                </a:cubicBezTo>
                <a:cubicBezTo>
                  <a:pt x="534893" y="179384"/>
                  <a:pt x="532309" y="177857"/>
                  <a:pt x="529959" y="174803"/>
                </a:cubicBezTo>
                <a:cubicBezTo>
                  <a:pt x="529254" y="174098"/>
                  <a:pt x="529195" y="172218"/>
                  <a:pt x="529783" y="169164"/>
                </a:cubicBezTo>
                <a:cubicBezTo>
                  <a:pt x="530370" y="166110"/>
                  <a:pt x="530781" y="164230"/>
                  <a:pt x="531016" y="163525"/>
                </a:cubicBezTo>
                <a:cubicBezTo>
                  <a:pt x="531251" y="162350"/>
                  <a:pt x="531604" y="160118"/>
                  <a:pt x="532073" y="156829"/>
                </a:cubicBezTo>
                <a:cubicBezTo>
                  <a:pt x="532543" y="153540"/>
                  <a:pt x="532661" y="150955"/>
                  <a:pt x="532426" y="149076"/>
                </a:cubicBezTo>
                <a:cubicBezTo>
                  <a:pt x="532426" y="137798"/>
                  <a:pt x="531839" y="130632"/>
                  <a:pt x="530664" y="127578"/>
                </a:cubicBezTo>
                <a:cubicBezTo>
                  <a:pt x="512338" y="145904"/>
                  <a:pt x="497653" y="158709"/>
                  <a:pt x="486611" y="165992"/>
                </a:cubicBezTo>
                <a:lnTo>
                  <a:pt x="494364" y="168107"/>
                </a:lnTo>
                <a:cubicBezTo>
                  <a:pt x="499533" y="169282"/>
                  <a:pt x="503351" y="170456"/>
                  <a:pt x="505818" y="171631"/>
                </a:cubicBezTo>
                <a:cubicBezTo>
                  <a:pt x="508285" y="172806"/>
                  <a:pt x="509636" y="174450"/>
                  <a:pt x="509871" y="176565"/>
                </a:cubicBezTo>
                <a:cubicBezTo>
                  <a:pt x="509871" y="177035"/>
                  <a:pt x="509695" y="177740"/>
                  <a:pt x="509342" y="178680"/>
                </a:cubicBezTo>
                <a:cubicBezTo>
                  <a:pt x="508990" y="179619"/>
                  <a:pt x="508813" y="180559"/>
                  <a:pt x="508813" y="181499"/>
                </a:cubicBezTo>
                <a:lnTo>
                  <a:pt x="508813" y="198063"/>
                </a:lnTo>
                <a:cubicBezTo>
                  <a:pt x="508813" y="219208"/>
                  <a:pt x="508696" y="234480"/>
                  <a:pt x="508461" y="243878"/>
                </a:cubicBezTo>
                <a:cubicBezTo>
                  <a:pt x="511046" y="235420"/>
                  <a:pt x="515451" y="227549"/>
                  <a:pt x="521677" y="220266"/>
                </a:cubicBezTo>
                <a:cubicBezTo>
                  <a:pt x="527903" y="212982"/>
                  <a:pt x="533131" y="208988"/>
                  <a:pt x="537360" y="208283"/>
                </a:cubicBezTo>
                <a:cubicBezTo>
                  <a:pt x="535480" y="212747"/>
                  <a:pt x="534540" y="217916"/>
                  <a:pt x="534540" y="223790"/>
                </a:cubicBezTo>
                <a:cubicBezTo>
                  <a:pt x="534540" y="229664"/>
                  <a:pt x="535656" y="235479"/>
                  <a:pt x="537888" y="241235"/>
                </a:cubicBezTo>
                <a:cubicBezTo>
                  <a:pt x="540121" y="246991"/>
                  <a:pt x="543116" y="251866"/>
                  <a:pt x="546875" y="255861"/>
                </a:cubicBezTo>
                <a:cubicBezTo>
                  <a:pt x="547815" y="257035"/>
                  <a:pt x="549107" y="257740"/>
                  <a:pt x="550752" y="257975"/>
                </a:cubicBezTo>
                <a:cubicBezTo>
                  <a:pt x="552397" y="258210"/>
                  <a:pt x="554864" y="258328"/>
                  <a:pt x="558153" y="258328"/>
                </a:cubicBezTo>
                <a:cubicBezTo>
                  <a:pt x="556508" y="260442"/>
                  <a:pt x="554629" y="263144"/>
                  <a:pt x="552514" y="266433"/>
                </a:cubicBezTo>
                <a:cubicBezTo>
                  <a:pt x="550400" y="269723"/>
                  <a:pt x="549107" y="271955"/>
                  <a:pt x="548638" y="273129"/>
                </a:cubicBezTo>
                <a:cubicBezTo>
                  <a:pt x="544643" y="275009"/>
                  <a:pt x="540297" y="275949"/>
                  <a:pt x="535598" y="275949"/>
                </a:cubicBezTo>
                <a:cubicBezTo>
                  <a:pt x="529254" y="275949"/>
                  <a:pt x="523615" y="274539"/>
                  <a:pt x="518681" y="271720"/>
                </a:cubicBezTo>
                <a:cubicBezTo>
                  <a:pt x="513747" y="268900"/>
                  <a:pt x="510223" y="266433"/>
                  <a:pt x="508109" y="264319"/>
                </a:cubicBezTo>
                <a:lnTo>
                  <a:pt x="508109" y="263614"/>
                </a:lnTo>
                <a:lnTo>
                  <a:pt x="507404" y="274187"/>
                </a:lnTo>
                <a:cubicBezTo>
                  <a:pt x="507169" y="277006"/>
                  <a:pt x="505407" y="280589"/>
                  <a:pt x="502117" y="284936"/>
                </a:cubicBezTo>
                <a:cubicBezTo>
                  <a:pt x="498828" y="289282"/>
                  <a:pt x="494364" y="293276"/>
                  <a:pt x="488725" y="296918"/>
                </a:cubicBezTo>
                <a:cubicBezTo>
                  <a:pt x="483086" y="300560"/>
                  <a:pt x="476860" y="302851"/>
                  <a:pt x="470047" y="303790"/>
                </a:cubicBezTo>
                <a:cubicBezTo>
                  <a:pt x="470986" y="298152"/>
                  <a:pt x="471456" y="281000"/>
                  <a:pt x="471456" y="252336"/>
                </a:cubicBezTo>
                <a:cubicBezTo>
                  <a:pt x="471456" y="212395"/>
                  <a:pt x="470399" y="190310"/>
                  <a:pt x="468285" y="186080"/>
                </a:cubicBezTo>
                <a:cubicBezTo>
                  <a:pt x="465230" y="180207"/>
                  <a:pt x="463586" y="177035"/>
                  <a:pt x="463351" y="176565"/>
                </a:cubicBezTo>
                <a:cubicBezTo>
                  <a:pt x="453013" y="179619"/>
                  <a:pt x="438681" y="180912"/>
                  <a:pt x="420355" y="180442"/>
                </a:cubicBezTo>
                <a:cubicBezTo>
                  <a:pt x="431632" y="175038"/>
                  <a:pt x="442381" y="167461"/>
                  <a:pt x="452602" y="157710"/>
                </a:cubicBezTo>
                <a:cubicBezTo>
                  <a:pt x="462822" y="147960"/>
                  <a:pt x="470693" y="139560"/>
                  <a:pt x="476214" y="132512"/>
                </a:cubicBezTo>
                <a:cubicBezTo>
                  <a:pt x="481735" y="125463"/>
                  <a:pt x="489900" y="114421"/>
                  <a:pt x="500708" y="99384"/>
                </a:cubicBezTo>
                <a:cubicBezTo>
                  <a:pt x="503527" y="95625"/>
                  <a:pt x="504937" y="93158"/>
                  <a:pt x="504937" y="91983"/>
                </a:cubicBezTo>
                <a:cubicBezTo>
                  <a:pt x="504937" y="91513"/>
                  <a:pt x="504702" y="90984"/>
                  <a:pt x="504232" y="90397"/>
                </a:cubicBezTo>
                <a:cubicBezTo>
                  <a:pt x="503762" y="89810"/>
                  <a:pt x="503409" y="89281"/>
                  <a:pt x="503175" y="88811"/>
                </a:cubicBezTo>
                <a:cubicBezTo>
                  <a:pt x="502705" y="87871"/>
                  <a:pt x="502470" y="87167"/>
                  <a:pt x="502470" y="86697"/>
                </a:cubicBezTo>
                <a:cubicBezTo>
                  <a:pt x="490487" y="97739"/>
                  <a:pt x="477272" y="106139"/>
                  <a:pt x="462822" y="111895"/>
                </a:cubicBezTo>
                <a:cubicBezTo>
                  <a:pt x="448372" y="117651"/>
                  <a:pt x="436096" y="120529"/>
                  <a:pt x="425994" y="120529"/>
                </a:cubicBezTo>
                <a:cubicBezTo>
                  <a:pt x="423879" y="120529"/>
                  <a:pt x="422352" y="120412"/>
                  <a:pt x="421412" y="120177"/>
                </a:cubicBezTo>
                <a:cubicBezTo>
                  <a:pt x="430340" y="112894"/>
                  <a:pt x="439679" y="103965"/>
                  <a:pt x="449430" y="93393"/>
                </a:cubicBezTo>
                <a:cubicBezTo>
                  <a:pt x="459180" y="82820"/>
                  <a:pt x="467756" y="72717"/>
                  <a:pt x="475157" y="63084"/>
                </a:cubicBezTo>
                <a:cubicBezTo>
                  <a:pt x="482558" y="53451"/>
                  <a:pt x="487081" y="46755"/>
                  <a:pt x="488725" y="42996"/>
                </a:cubicBezTo>
                <a:cubicBezTo>
                  <a:pt x="489665" y="40881"/>
                  <a:pt x="490135" y="39237"/>
                  <a:pt x="490135" y="38062"/>
                </a:cubicBezTo>
                <a:cubicBezTo>
                  <a:pt x="490135" y="37122"/>
                  <a:pt x="489841" y="36417"/>
                  <a:pt x="489254" y="35947"/>
                </a:cubicBezTo>
                <a:cubicBezTo>
                  <a:pt x="488666" y="35478"/>
                  <a:pt x="488255" y="35008"/>
                  <a:pt x="488020" y="34538"/>
                </a:cubicBezTo>
                <a:cubicBezTo>
                  <a:pt x="487551" y="33598"/>
                  <a:pt x="487315" y="32658"/>
                  <a:pt x="487315" y="31718"/>
                </a:cubicBezTo>
                <a:cubicBezTo>
                  <a:pt x="487315" y="31248"/>
                  <a:pt x="487668" y="30191"/>
                  <a:pt x="488373" y="28546"/>
                </a:cubicBezTo>
                <a:cubicBezTo>
                  <a:pt x="490957" y="23847"/>
                  <a:pt x="493777" y="20676"/>
                  <a:pt x="496831" y="19031"/>
                </a:cubicBezTo>
                <a:cubicBezTo>
                  <a:pt x="496361" y="20206"/>
                  <a:pt x="496126" y="21498"/>
                  <a:pt x="496126" y="22908"/>
                </a:cubicBezTo>
                <a:cubicBezTo>
                  <a:pt x="496126" y="25257"/>
                  <a:pt x="497066" y="27254"/>
                  <a:pt x="498945" y="28899"/>
                </a:cubicBezTo>
                <a:cubicBezTo>
                  <a:pt x="501530" y="31013"/>
                  <a:pt x="506112" y="34303"/>
                  <a:pt x="512690" y="38767"/>
                </a:cubicBezTo>
                <a:cubicBezTo>
                  <a:pt x="523498" y="48635"/>
                  <a:pt x="528784" y="55213"/>
                  <a:pt x="528549" y="58503"/>
                </a:cubicBezTo>
                <a:cubicBezTo>
                  <a:pt x="528314" y="59912"/>
                  <a:pt x="527903" y="60970"/>
                  <a:pt x="527316" y="61674"/>
                </a:cubicBezTo>
                <a:cubicBezTo>
                  <a:pt x="526728" y="62379"/>
                  <a:pt x="525671" y="63084"/>
                  <a:pt x="524144" y="63789"/>
                </a:cubicBezTo>
                <a:cubicBezTo>
                  <a:pt x="522617" y="64494"/>
                  <a:pt x="521383" y="65316"/>
                  <a:pt x="520444" y="66256"/>
                </a:cubicBezTo>
                <a:cubicBezTo>
                  <a:pt x="518094" y="69545"/>
                  <a:pt x="516214" y="72012"/>
                  <a:pt x="514805" y="73657"/>
                </a:cubicBezTo>
                <a:cubicBezTo>
                  <a:pt x="514805" y="76946"/>
                  <a:pt x="515979" y="79648"/>
                  <a:pt x="518329" y="81763"/>
                </a:cubicBezTo>
                <a:cubicBezTo>
                  <a:pt x="521853" y="85052"/>
                  <a:pt x="528197" y="91631"/>
                  <a:pt x="537360" y="101498"/>
                </a:cubicBezTo>
                <a:cubicBezTo>
                  <a:pt x="541589" y="107842"/>
                  <a:pt x="543351" y="113128"/>
                  <a:pt x="542646" y="117358"/>
                </a:cubicBezTo>
                <a:cubicBezTo>
                  <a:pt x="542176" y="119942"/>
                  <a:pt x="540884" y="121822"/>
                  <a:pt x="538770" y="122996"/>
                </a:cubicBezTo>
                <a:lnTo>
                  <a:pt x="542294" y="124054"/>
                </a:lnTo>
                <a:cubicBezTo>
                  <a:pt x="543469" y="124289"/>
                  <a:pt x="545113" y="124582"/>
                  <a:pt x="547228" y="124935"/>
                </a:cubicBezTo>
                <a:cubicBezTo>
                  <a:pt x="549342" y="125287"/>
                  <a:pt x="551046" y="125933"/>
                  <a:pt x="552338" y="126873"/>
                </a:cubicBezTo>
                <a:cubicBezTo>
                  <a:pt x="553630" y="127813"/>
                  <a:pt x="554746" y="129458"/>
                  <a:pt x="555686" y="131807"/>
                </a:cubicBezTo>
                <a:cubicBezTo>
                  <a:pt x="556861" y="133922"/>
                  <a:pt x="557448" y="140853"/>
                  <a:pt x="557448" y="152600"/>
                </a:cubicBezTo>
                <a:cubicBezTo>
                  <a:pt x="558388" y="152365"/>
                  <a:pt x="560620" y="151778"/>
                  <a:pt x="564144" y="150838"/>
                </a:cubicBezTo>
                <a:lnTo>
                  <a:pt x="564497" y="144142"/>
                </a:lnTo>
                <a:cubicBezTo>
                  <a:pt x="564497" y="135214"/>
                  <a:pt x="562852" y="128988"/>
                  <a:pt x="559563" y="125463"/>
                </a:cubicBezTo>
                <a:lnTo>
                  <a:pt x="559210" y="124054"/>
                </a:lnTo>
                <a:lnTo>
                  <a:pt x="554276" y="118415"/>
                </a:lnTo>
                <a:cubicBezTo>
                  <a:pt x="553101" y="116770"/>
                  <a:pt x="551692" y="115067"/>
                  <a:pt x="550047" y="113305"/>
                </a:cubicBezTo>
                <a:cubicBezTo>
                  <a:pt x="548403" y="111543"/>
                  <a:pt x="547463" y="110427"/>
                  <a:pt x="547228" y="109957"/>
                </a:cubicBezTo>
                <a:lnTo>
                  <a:pt x="548990" y="109957"/>
                </a:lnTo>
                <a:cubicBezTo>
                  <a:pt x="551809" y="109957"/>
                  <a:pt x="554159" y="109722"/>
                  <a:pt x="556039" y="109252"/>
                </a:cubicBezTo>
                <a:cubicBezTo>
                  <a:pt x="561442" y="108547"/>
                  <a:pt x="572485" y="106080"/>
                  <a:pt x="589166" y="101851"/>
                </a:cubicBezTo>
                <a:lnTo>
                  <a:pt x="589166" y="88459"/>
                </a:lnTo>
                <a:lnTo>
                  <a:pt x="574364" y="91631"/>
                </a:lnTo>
                <a:cubicBezTo>
                  <a:pt x="573425" y="91865"/>
                  <a:pt x="572015" y="91983"/>
                  <a:pt x="570135" y="91983"/>
                </a:cubicBezTo>
                <a:cubicBezTo>
                  <a:pt x="566611" y="91983"/>
                  <a:pt x="563028" y="91219"/>
                  <a:pt x="559387" y="89692"/>
                </a:cubicBezTo>
                <a:cubicBezTo>
                  <a:pt x="555745" y="88165"/>
                  <a:pt x="552632" y="85992"/>
                  <a:pt x="550047" y="83172"/>
                </a:cubicBezTo>
                <a:cubicBezTo>
                  <a:pt x="545818" y="78943"/>
                  <a:pt x="543704" y="75889"/>
                  <a:pt x="543704" y="74009"/>
                </a:cubicBezTo>
                <a:cubicBezTo>
                  <a:pt x="543704" y="72365"/>
                  <a:pt x="545583" y="71425"/>
                  <a:pt x="549342" y="71190"/>
                </a:cubicBezTo>
                <a:cubicBezTo>
                  <a:pt x="562499" y="70250"/>
                  <a:pt x="575892" y="68018"/>
                  <a:pt x="589519" y="64494"/>
                </a:cubicBezTo>
                <a:cubicBezTo>
                  <a:pt x="589519" y="50867"/>
                  <a:pt x="589049" y="44053"/>
                  <a:pt x="588109" y="44053"/>
                </a:cubicBezTo>
                <a:cubicBezTo>
                  <a:pt x="583175" y="42174"/>
                  <a:pt x="579475" y="39589"/>
                  <a:pt x="577008" y="36300"/>
                </a:cubicBezTo>
                <a:cubicBezTo>
                  <a:pt x="574541" y="33011"/>
                  <a:pt x="572602" y="28664"/>
                  <a:pt x="571193" y="23260"/>
                </a:cubicBezTo>
                <a:cubicBezTo>
                  <a:pt x="571897" y="23495"/>
                  <a:pt x="573483" y="24317"/>
                  <a:pt x="575950" y="25727"/>
                </a:cubicBezTo>
                <a:cubicBezTo>
                  <a:pt x="578417" y="27137"/>
                  <a:pt x="580591" y="27842"/>
                  <a:pt x="582470" y="27842"/>
                </a:cubicBezTo>
                <a:cubicBezTo>
                  <a:pt x="585525" y="27842"/>
                  <a:pt x="589754" y="25257"/>
                  <a:pt x="595158" y="20088"/>
                </a:cubicBezTo>
                <a:cubicBezTo>
                  <a:pt x="596332" y="18914"/>
                  <a:pt x="598564" y="18032"/>
                  <a:pt x="601854" y="17445"/>
                </a:cubicBezTo>
                <a:cubicBezTo>
                  <a:pt x="605143" y="16858"/>
                  <a:pt x="607728" y="16682"/>
                  <a:pt x="609607" y="16916"/>
                </a:cubicBezTo>
                <a:close/>
                <a:moveTo>
                  <a:pt x="4015280" y="16212"/>
                </a:moveTo>
                <a:cubicBezTo>
                  <a:pt x="4019745" y="19266"/>
                  <a:pt x="4024679" y="21909"/>
                  <a:pt x="4030082" y="24141"/>
                </a:cubicBezTo>
                <a:cubicBezTo>
                  <a:pt x="4035486" y="26373"/>
                  <a:pt x="4040655" y="27489"/>
                  <a:pt x="4045589" y="27489"/>
                </a:cubicBezTo>
                <a:cubicBezTo>
                  <a:pt x="4047234" y="27489"/>
                  <a:pt x="4049231" y="27254"/>
                  <a:pt x="4051580" y="26784"/>
                </a:cubicBezTo>
                <a:cubicBezTo>
                  <a:pt x="4054869" y="26314"/>
                  <a:pt x="4056984" y="26080"/>
                  <a:pt x="4057924" y="26080"/>
                </a:cubicBezTo>
                <a:cubicBezTo>
                  <a:pt x="4061918" y="26080"/>
                  <a:pt x="4065090" y="26902"/>
                  <a:pt x="4067439" y="28546"/>
                </a:cubicBezTo>
                <a:cubicBezTo>
                  <a:pt x="4069789" y="30191"/>
                  <a:pt x="4071903" y="32129"/>
                  <a:pt x="4073783" y="34361"/>
                </a:cubicBezTo>
                <a:cubicBezTo>
                  <a:pt x="4075663" y="36594"/>
                  <a:pt x="4077190" y="38297"/>
                  <a:pt x="4078364" y="39472"/>
                </a:cubicBezTo>
                <a:cubicBezTo>
                  <a:pt x="4079304" y="40646"/>
                  <a:pt x="4079774" y="41704"/>
                  <a:pt x="4079774" y="42643"/>
                </a:cubicBezTo>
                <a:cubicBezTo>
                  <a:pt x="4079774" y="43818"/>
                  <a:pt x="4079128" y="45169"/>
                  <a:pt x="4077836" y="46696"/>
                </a:cubicBezTo>
                <a:cubicBezTo>
                  <a:pt x="4076544" y="48224"/>
                  <a:pt x="4075898" y="49457"/>
                  <a:pt x="4075898" y="50397"/>
                </a:cubicBezTo>
                <a:lnTo>
                  <a:pt x="4076250" y="65551"/>
                </a:lnTo>
                <a:cubicBezTo>
                  <a:pt x="4077895" y="158356"/>
                  <a:pt x="4078717" y="222028"/>
                  <a:pt x="4078717" y="256565"/>
                </a:cubicBezTo>
                <a:cubicBezTo>
                  <a:pt x="4078717" y="267373"/>
                  <a:pt x="4078599" y="273482"/>
                  <a:pt x="4078364" y="274892"/>
                </a:cubicBezTo>
                <a:cubicBezTo>
                  <a:pt x="4077895" y="279121"/>
                  <a:pt x="4074370" y="283291"/>
                  <a:pt x="4067792" y="287403"/>
                </a:cubicBezTo>
                <a:cubicBezTo>
                  <a:pt x="4061213" y="291514"/>
                  <a:pt x="4053460" y="295215"/>
                  <a:pt x="4044532" y="298504"/>
                </a:cubicBezTo>
                <a:lnTo>
                  <a:pt x="4014223" y="252336"/>
                </a:lnTo>
                <a:cubicBezTo>
                  <a:pt x="4020567" y="252571"/>
                  <a:pt x="4026147" y="252336"/>
                  <a:pt x="4030963" y="251632"/>
                </a:cubicBezTo>
                <a:cubicBezTo>
                  <a:pt x="4035780" y="250927"/>
                  <a:pt x="4038658" y="249752"/>
                  <a:pt x="4039598" y="248107"/>
                </a:cubicBezTo>
                <a:cubicBezTo>
                  <a:pt x="4040303" y="246698"/>
                  <a:pt x="4040655" y="234245"/>
                  <a:pt x="4040655" y="210750"/>
                </a:cubicBezTo>
                <a:cubicBezTo>
                  <a:pt x="4040655" y="182556"/>
                  <a:pt x="4040185" y="149017"/>
                  <a:pt x="4039245" y="110133"/>
                </a:cubicBezTo>
                <a:cubicBezTo>
                  <a:pt x="4038306" y="71249"/>
                  <a:pt x="4037483" y="50984"/>
                  <a:pt x="4036779" y="49340"/>
                </a:cubicBezTo>
                <a:cubicBezTo>
                  <a:pt x="4034664" y="45110"/>
                  <a:pt x="4031257" y="39354"/>
                  <a:pt x="4026558" y="32071"/>
                </a:cubicBezTo>
                <a:cubicBezTo>
                  <a:pt x="4021859" y="24787"/>
                  <a:pt x="4018100" y="19501"/>
                  <a:pt x="4015280" y="16212"/>
                </a:cubicBezTo>
                <a:close/>
                <a:moveTo>
                  <a:pt x="2620878" y="15154"/>
                </a:moveTo>
                <a:cubicBezTo>
                  <a:pt x="2624637" y="17504"/>
                  <a:pt x="2629688" y="18679"/>
                  <a:pt x="2636032" y="18679"/>
                </a:cubicBezTo>
                <a:cubicBezTo>
                  <a:pt x="2639086" y="18679"/>
                  <a:pt x="2642375" y="18326"/>
                  <a:pt x="2645899" y="17621"/>
                </a:cubicBezTo>
                <a:cubicBezTo>
                  <a:pt x="2648719" y="17151"/>
                  <a:pt x="2650833" y="16916"/>
                  <a:pt x="2652243" y="16916"/>
                </a:cubicBezTo>
                <a:cubicBezTo>
                  <a:pt x="2662111" y="16916"/>
                  <a:pt x="2671157" y="21381"/>
                  <a:pt x="2679380" y="30309"/>
                </a:cubicBezTo>
                <a:cubicBezTo>
                  <a:pt x="2680320" y="31248"/>
                  <a:pt x="2680790" y="32306"/>
                  <a:pt x="2680790" y="33480"/>
                </a:cubicBezTo>
                <a:cubicBezTo>
                  <a:pt x="2680790" y="34420"/>
                  <a:pt x="2680144" y="35595"/>
                  <a:pt x="2678852" y="37005"/>
                </a:cubicBezTo>
                <a:cubicBezTo>
                  <a:pt x="2677559" y="38414"/>
                  <a:pt x="2676913" y="39589"/>
                  <a:pt x="2676913" y="40529"/>
                </a:cubicBezTo>
                <a:lnTo>
                  <a:pt x="2677266" y="80705"/>
                </a:lnTo>
                <a:lnTo>
                  <a:pt x="2714623" y="72952"/>
                </a:lnTo>
                <a:cubicBezTo>
                  <a:pt x="2716267" y="72482"/>
                  <a:pt x="2719498" y="71601"/>
                  <a:pt x="2724314" y="70309"/>
                </a:cubicBezTo>
                <a:cubicBezTo>
                  <a:pt x="2729131" y="69017"/>
                  <a:pt x="2733419" y="68370"/>
                  <a:pt x="2737178" y="68370"/>
                </a:cubicBezTo>
                <a:cubicBezTo>
                  <a:pt x="2741407" y="68370"/>
                  <a:pt x="2744579" y="69310"/>
                  <a:pt x="2746693" y="71190"/>
                </a:cubicBezTo>
                <a:cubicBezTo>
                  <a:pt x="2747163" y="71425"/>
                  <a:pt x="2751040" y="73481"/>
                  <a:pt x="2758323" y="77357"/>
                </a:cubicBezTo>
                <a:cubicBezTo>
                  <a:pt x="2765607" y="81234"/>
                  <a:pt x="2770541" y="84934"/>
                  <a:pt x="2773125" y="88459"/>
                </a:cubicBezTo>
                <a:cubicBezTo>
                  <a:pt x="2775240" y="90573"/>
                  <a:pt x="2776297" y="93628"/>
                  <a:pt x="2776297" y="97622"/>
                </a:cubicBezTo>
                <a:cubicBezTo>
                  <a:pt x="2776297" y="102556"/>
                  <a:pt x="2774770" y="107196"/>
                  <a:pt x="2771716" y="111543"/>
                </a:cubicBezTo>
                <a:cubicBezTo>
                  <a:pt x="2768661" y="115889"/>
                  <a:pt x="2764785" y="118062"/>
                  <a:pt x="2760085" y="118062"/>
                </a:cubicBezTo>
                <a:cubicBezTo>
                  <a:pt x="2757501" y="118062"/>
                  <a:pt x="2754682" y="117240"/>
                  <a:pt x="2751627" y="115595"/>
                </a:cubicBezTo>
                <a:cubicBezTo>
                  <a:pt x="2749043" y="114891"/>
                  <a:pt x="2746576" y="113833"/>
                  <a:pt x="2744227" y="112424"/>
                </a:cubicBezTo>
                <a:cubicBezTo>
                  <a:pt x="2737413" y="109839"/>
                  <a:pt x="2733066" y="108429"/>
                  <a:pt x="2731187" y="108195"/>
                </a:cubicBezTo>
                <a:cubicBezTo>
                  <a:pt x="2728132" y="108195"/>
                  <a:pt x="2725430" y="108312"/>
                  <a:pt x="2723081" y="108547"/>
                </a:cubicBezTo>
                <a:lnTo>
                  <a:pt x="2728719" y="113128"/>
                </a:lnTo>
                <a:lnTo>
                  <a:pt x="2744931" y="116300"/>
                </a:lnTo>
                <a:lnTo>
                  <a:pt x="2757266" y="131807"/>
                </a:lnTo>
                <a:lnTo>
                  <a:pt x="2757266" y="147314"/>
                </a:lnTo>
                <a:lnTo>
                  <a:pt x="2749160" y="151190"/>
                </a:lnTo>
                <a:cubicBezTo>
                  <a:pt x="2737178" y="160353"/>
                  <a:pt x="2723551" y="168577"/>
                  <a:pt x="2708279" y="175860"/>
                </a:cubicBezTo>
                <a:cubicBezTo>
                  <a:pt x="2718382" y="182204"/>
                  <a:pt x="2731304" y="191014"/>
                  <a:pt x="2747046" y="202292"/>
                </a:cubicBezTo>
                <a:cubicBezTo>
                  <a:pt x="2765607" y="215214"/>
                  <a:pt x="2780174" y="224730"/>
                  <a:pt x="2790746" y="230838"/>
                </a:cubicBezTo>
                <a:cubicBezTo>
                  <a:pt x="2801319" y="236947"/>
                  <a:pt x="2810835" y="240001"/>
                  <a:pt x="2819293" y="240001"/>
                </a:cubicBezTo>
                <a:lnTo>
                  <a:pt x="2822817" y="239649"/>
                </a:lnTo>
                <a:cubicBezTo>
                  <a:pt x="2815769" y="241294"/>
                  <a:pt x="2809366" y="244289"/>
                  <a:pt x="2803610" y="248636"/>
                </a:cubicBezTo>
                <a:cubicBezTo>
                  <a:pt x="2797854" y="252982"/>
                  <a:pt x="2791099" y="259032"/>
                  <a:pt x="2783346" y="266786"/>
                </a:cubicBezTo>
                <a:cubicBezTo>
                  <a:pt x="2776532" y="273834"/>
                  <a:pt x="2770834" y="279062"/>
                  <a:pt x="2766253" y="282469"/>
                </a:cubicBezTo>
                <a:cubicBezTo>
                  <a:pt x="2761671" y="285875"/>
                  <a:pt x="2756914" y="287579"/>
                  <a:pt x="2751980" y="287579"/>
                </a:cubicBezTo>
                <a:cubicBezTo>
                  <a:pt x="2746811" y="287579"/>
                  <a:pt x="2741642" y="285347"/>
                  <a:pt x="2736473" y="280883"/>
                </a:cubicBezTo>
                <a:cubicBezTo>
                  <a:pt x="2731304" y="276889"/>
                  <a:pt x="2725371" y="270016"/>
                  <a:pt x="2718675" y="260266"/>
                </a:cubicBezTo>
                <a:cubicBezTo>
                  <a:pt x="2711980" y="250516"/>
                  <a:pt x="2703698" y="237652"/>
                  <a:pt x="2693830" y="221675"/>
                </a:cubicBezTo>
                <a:lnTo>
                  <a:pt x="2677618" y="196653"/>
                </a:lnTo>
                <a:cubicBezTo>
                  <a:pt x="2677618" y="248107"/>
                  <a:pt x="2677383" y="275479"/>
                  <a:pt x="2676913" y="278768"/>
                </a:cubicBezTo>
                <a:cubicBezTo>
                  <a:pt x="2676444" y="282762"/>
                  <a:pt x="2672625" y="286815"/>
                  <a:pt x="2665459" y="290927"/>
                </a:cubicBezTo>
                <a:cubicBezTo>
                  <a:pt x="2658293" y="295039"/>
                  <a:pt x="2649777" y="298622"/>
                  <a:pt x="2639909" y="301676"/>
                </a:cubicBezTo>
                <a:lnTo>
                  <a:pt x="2611010" y="256565"/>
                </a:lnTo>
                <a:cubicBezTo>
                  <a:pt x="2617354" y="256800"/>
                  <a:pt x="2622875" y="256565"/>
                  <a:pt x="2627574" y="255861"/>
                </a:cubicBezTo>
                <a:cubicBezTo>
                  <a:pt x="2632272" y="255156"/>
                  <a:pt x="2635092" y="253981"/>
                  <a:pt x="2636032" y="252336"/>
                </a:cubicBezTo>
                <a:cubicBezTo>
                  <a:pt x="2637206" y="250457"/>
                  <a:pt x="2637794" y="226844"/>
                  <a:pt x="2637794" y="181499"/>
                </a:cubicBezTo>
                <a:cubicBezTo>
                  <a:pt x="2631920" y="193951"/>
                  <a:pt x="2624696" y="207050"/>
                  <a:pt x="2616120" y="220794"/>
                </a:cubicBezTo>
                <a:cubicBezTo>
                  <a:pt x="2607544" y="234539"/>
                  <a:pt x="2601142" y="243643"/>
                  <a:pt x="2596913" y="248107"/>
                </a:cubicBezTo>
                <a:cubicBezTo>
                  <a:pt x="2595738" y="249282"/>
                  <a:pt x="2593682" y="251397"/>
                  <a:pt x="2590745" y="254451"/>
                </a:cubicBezTo>
                <a:cubicBezTo>
                  <a:pt x="2587808" y="257505"/>
                  <a:pt x="2585576" y="260266"/>
                  <a:pt x="2584049" y="262733"/>
                </a:cubicBezTo>
                <a:cubicBezTo>
                  <a:pt x="2582522" y="265200"/>
                  <a:pt x="2581759" y="267843"/>
                  <a:pt x="2581759" y="270662"/>
                </a:cubicBezTo>
                <a:cubicBezTo>
                  <a:pt x="2581759" y="273952"/>
                  <a:pt x="2580173" y="276477"/>
                  <a:pt x="2577001" y="278240"/>
                </a:cubicBezTo>
                <a:cubicBezTo>
                  <a:pt x="2573829" y="280002"/>
                  <a:pt x="2569894" y="280883"/>
                  <a:pt x="2565194" y="280883"/>
                </a:cubicBezTo>
                <a:cubicBezTo>
                  <a:pt x="2560260" y="280883"/>
                  <a:pt x="2556149" y="280060"/>
                  <a:pt x="2552860" y="278416"/>
                </a:cubicBezTo>
                <a:cubicBezTo>
                  <a:pt x="2552155" y="277946"/>
                  <a:pt x="2550275" y="277065"/>
                  <a:pt x="2547221" y="275773"/>
                </a:cubicBezTo>
                <a:cubicBezTo>
                  <a:pt x="2544166" y="274480"/>
                  <a:pt x="2541817" y="272777"/>
                  <a:pt x="2540172" y="270662"/>
                </a:cubicBezTo>
                <a:cubicBezTo>
                  <a:pt x="2537118" y="266433"/>
                  <a:pt x="2534299" y="256331"/>
                  <a:pt x="2531714" y="240354"/>
                </a:cubicBezTo>
                <a:cubicBezTo>
                  <a:pt x="2530539" y="233540"/>
                  <a:pt x="2529952" y="230251"/>
                  <a:pt x="2529952" y="230486"/>
                </a:cubicBezTo>
                <a:cubicBezTo>
                  <a:pt x="2527837" y="221558"/>
                  <a:pt x="2525370" y="214862"/>
                  <a:pt x="2522551" y="210398"/>
                </a:cubicBezTo>
                <a:cubicBezTo>
                  <a:pt x="2529130" y="214627"/>
                  <a:pt x="2532537" y="216624"/>
                  <a:pt x="2532771" y="216389"/>
                </a:cubicBezTo>
                <a:cubicBezTo>
                  <a:pt x="2533946" y="218504"/>
                  <a:pt x="2536061" y="221147"/>
                  <a:pt x="2539115" y="224319"/>
                </a:cubicBezTo>
                <a:cubicBezTo>
                  <a:pt x="2542169" y="227490"/>
                  <a:pt x="2545693" y="229076"/>
                  <a:pt x="2549688" y="229076"/>
                </a:cubicBezTo>
                <a:cubicBezTo>
                  <a:pt x="2557911" y="229076"/>
                  <a:pt x="2570128" y="222556"/>
                  <a:pt x="2586340" y="209517"/>
                </a:cubicBezTo>
                <a:cubicBezTo>
                  <a:pt x="2602552" y="196477"/>
                  <a:pt x="2619703" y="181264"/>
                  <a:pt x="2637794" y="163878"/>
                </a:cubicBezTo>
                <a:lnTo>
                  <a:pt x="2637794" y="120882"/>
                </a:lnTo>
                <a:cubicBezTo>
                  <a:pt x="2605136" y="126521"/>
                  <a:pt x="2586575" y="129458"/>
                  <a:pt x="2582111" y="129692"/>
                </a:cubicBezTo>
                <a:cubicBezTo>
                  <a:pt x="2574122" y="130162"/>
                  <a:pt x="2567191" y="126991"/>
                  <a:pt x="2561318" y="120177"/>
                </a:cubicBezTo>
                <a:cubicBezTo>
                  <a:pt x="2555444" y="113363"/>
                  <a:pt x="2550862" y="105845"/>
                  <a:pt x="2547573" y="97622"/>
                </a:cubicBezTo>
                <a:lnTo>
                  <a:pt x="2547573" y="97269"/>
                </a:lnTo>
                <a:cubicBezTo>
                  <a:pt x="2547573" y="96799"/>
                  <a:pt x="2548043" y="96565"/>
                  <a:pt x="2548983" y="96565"/>
                </a:cubicBezTo>
                <a:cubicBezTo>
                  <a:pt x="2550158" y="96565"/>
                  <a:pt x="2551450" y="96799"/>
                  <a:pt x="2552860" y="97269"/>
                </a:cubicBezTo>
                <a:cubicBezTo>
                  <a:pt x="2553564" y="97504"/>
                  <a:pt x="2554974" y="98033"/>
                  <a:pt x="2557089" y="98855"/>
                </a:cubicBezTo>
                <a:cubicBezTo>
                  <a:pt x="2559203" y="99678"/>
                  <a:pt x="2561788" y="100089"/>
                  <a:pt x="2564842" y="100089"/>
                </a:cubicBezTo>
                <a:cubicBezTo>
                  <a:pt x="2570951" y="100089"/>
                  <a:pt x="2595268" y="96095"/>
                  <a:pt x="2637794" y="88106"/>
                </a:cubicBezTo>
                <a:cubicBezTo>
                  <a:pt x="2637324" y="56623"/>
                  <a:pt x="2636854" y="40529"/>
                  <a:pt x="2636384" y="39824"/>
                </a:cubicBezTo>
                <a:cubicBezTo>
                  <a:pt x="2632155" y="31366"/>
                  <a:pt x="2626986" y="23143"/>
                  <a:pt x="2620878" y="15154"/>
                </a:cubicBezTo>
                <a:close/>
                <a:moveTo>
                  <a:pt x="2716385" y="14802"/>
                </a:moveTo>
                <a:cubicBezTo>
                  <a:pt x="2723903" y="17856"/>
                  <a:pt x="2732009" y="19383"/>
                  <a:pt x="2740702" y="19383"/>
                </a:cubicBezTo>
                <a:lnTo>
                  <a:pt x="2751275" y="19031"/>
                </a:lnTo>
                <a:cubicBezTo>
                  <a:pt x="2753155" y="18796"/>
                  <a:pt x="2755974" y="18679"/>
                  <a:pt x="2759733" y="18679"/>
                </a:cubicBezTo>
                <a:cubicBezTo>
                  <a:pt x="2763492" y="18679"/>
                  <a:pt x="2766840" y="19148"/>
                  <a:pt x="2769777" y="20088"/>
                </a:cubicBezTo>
                <a:cubicBezTo>
                  <a:pt x="2772714" y="21028"/>
                  <a:pt x="2775357" y="22790"/>
                  <a:pt x="2777707" y="25375"/>
                </a:cubicBezTo>
                <a:cubicBezTo>
                  <a:pt x="2780996" y="28899"/>
                  <a:pt x="2783757" y="33539"/>
                  <a:pt x="2785989" y="39295"/>
                </a:cubicBezTo>
                <a:cubicBezTo>
                  <a:pt x="2788220" y="45052"/>
                  <a:pt x="2789337" y="50044"/>
                  <a:pt x="2789337" y="54273"/>
                </a:cubicBezTo>
                <a:cubicBezTo>
                  <a:pt x="2789337" y="56623"/>
                  <a:pt x="2788867" y="58268"/>
                  <a:pt x="2787927" y="59207"/>
                </a:cubicBezTo>
                <a:cubicBezTo>
                  <a:pt x="2786282" y="60617"/>
                  <a:pt x="2783052" y="62321"/>
                  <a:pt x="2778236" y="64318"/>
                </a:cubicBezTo>
                <a:cubicBezTo>
                  <a:pt x="2773419" y="66315"/>
                  <a:pt x="2768896" y="67313"/>
                  <a:pt x="2764667" y="67313"/>
                </a:cubicBezTo>
                <a:lnTo>
                  <a:pt x="2761848" y="66961"/>
                </a:lnTo>
                <a:cubicBezTo>
                  <a:pt x="2754329" y="65316"/>
                  <a:pt x="2747046" y="61909"/>
                  <a:pt x="2739997" y="56740"/>
                </a:cubicBezTo>
                <a:cubicBezTo>
                  <a:pt x="2748221" y="53686"/>
                  <a:pt x="2752332" y="50984"/>
                  <a:pt x="2752332" y="48635"/>
                </a:cubicBezTo>
                <a:cubicBezTo>
                  <a:pt x="2752332" y="47225"/>
                  <a:pt x="2751451" y="45698"/>
                  <a:pt x="2749689" y="44053"/>
                </a:cubicBezTo>
                <a:cubicBezTo>
                  <a:pt x="2747927" y="42409"/>
                  <a:pt x="2744696" y="40059"/>
                  <a:pt x="2739997" y="37005"/>
                </a:cubicBezTo>
                <a:cubicBezTo>
                  <a:pt x="2727780" y="29721"/>
                  <a:pt x="2719909" y="22320"/>
                  <a:pt x="2716385" y="14802"/>
                </a:cubicBezTo>
                <a:close/>
                <a:moveTo>
                  <a:pt x="3133732" y="12687"/>
                </a:moveTo>
                <a:cubicBezTo>
                  <a:pt x="3135612" y="12217"/>
                  <a:pt x="3138783" y="12981"/>
                  <a:pt x="3143248" y="14978"/>
                </a:cubicBezTo>
                <a:cubicBezTo>
                  <a:pt x="3147712" y="16975"/>
                  <a:pt x="3152176" y="19795"/>
                  <a:pt x="3156640" y="23436"/>
                </a:cubicBezTo>
                <a:cubicBezTo>
                  <a:pt x="3161104" y="27078"/>
                  <a:pt x="3164511" y="31013"/>
                  <a:pt x="3166860" y="35243"/>
                </a:cubicBezTo>
                <a:cubicBezTo>
                  <a:pt x="3167330" y="35947"/>
                  <a:pt x="3168270" y="37533"/>
                  <a:pt x="3169680" y="40000"/>
                </a:cubicBezTo>
                <a:cubicBezTo>
                  <a:pt x="3171089" y="42467"/>
                  <a:pt x="3171794" y="44406"/>
                  <a:pt x="3171794" y="45815"/>
                </a:cubicBezTo>
                <a:cubicBezTo>
                  <a:pt x="3171794" y="47930"/>
                  <a:pt x="3169797" y="49927"/>
                  <a:pt x="3165803" y="51807"/>
                </a:cubicBezTo>
                <a:cubicBezTo>
                  <a:pt x="3163453" y="52746"/>
                  <a:pt x="3157344" y="66138"/>
                  <a:pt x="3147477" y="91983"/>
                </a:cubicBezTo>
                <a:cubicBezTo>
                  <a:pt x="3148886" y="92688"/>
                  <a:pt x="3151941" y="94802"/>
                  <a:pt x="3156640" y="98327"/>
                </a:cubicBezTo>
                <a:cubicBezTo>
                  <a:pt x="3163218" y="103496"/>
                  <a:pt x="3166508" y="108664"/>
                  <a:pt x="3166508" y="113833"/>
                </a:cubicBezTo>
                <a:cubicBezTo>
                  <a:pt x="3166508" y="115948"/>
                  <a:pt x="3165685" y="118062"/>
                  <a:pt x="3164040" y="120177"/>
                </a:cubicBezTo>
                <a:cubicBezTo>
                  <a:pt x="3164981" y="119942"/>
                  <a:pt x="3167623" y="119296"/>
                  <a:pt x="3171970" y="118239"/>
                </a:cubicBezTo>
                <a:cubicBezTo>
                  <a:pt x="3176317" y="117181"/>
                  <a:pt x="3180252" y="116653"/>
                  <a:pt x="3183776" y="116653"/>
                </a:cubicBezTo>
                <a:cubicBezTo>
                  <a:pt x="3188005" y="116653"/>
                  <a:pt x="3191413" y="117593"/>
                  <a:pt x="3193997" y="119472"/>
                </a:cubicBezTo>
                <a:cubicBezTo>
                  <a:pt x="3194467" y="119942"/>
                  <a:pt x="3198285" y="122703"/>
                  <a:pt x="3205451" y="127754"/>
                </a:cubicBezTo>
                <a:cubicBezTo>
                  <a:pt x="3212617" y="132806"/>
                  <a:pt x="3217257" y="136976"/>
                  <a:pt x="3219371" y="140265"/>
                </a:cubicBezTo>
                <a:cubicBezTo>
                  <a:pt x="3220076" y="141205"/>
                  <a:pt x="3220429" y="142497"/>
                  <a:pt x="3220429" y="144142"/>
                </a:cubicBezTo>
                <a:cubicBezTo>
                  <a:pt x="3220429" y="148136"/>
                  <a:pt x="3218667" y="152424"/>
                  <a:pt x="3215142" y="157005"/>
                </a:cubicBezTo>
                <a:cubicBezTo>
                  <a:pt x="3211618" y="161587"/>
                  <a:pt x="3207624" y="163878"/>
                  <a:pt x="3203160" y="163878"/>
                </a:cubicBezTo>
                <a:cubicBezTo>
                  <a:pt x="3201045" y="163878"/>
                  <a:pt x="3198813" y="163055"/>
                  <a:pt x="3196464" y="161411"/>
                </a:cubicBezTo>
                <a:cubicBezTo>
                  <a:pt x="3195054" y="160941"/>
                  <a:pt x="3193821" y="160471"/>
                  <a:pt x="3192763" y="160001"/>
                </a:cubicBezTo>
                <a:cubicBezTo>
                  <a:pt x="3191706" y="159531"/>
                  <a:pt x="3190707" y="159179"/>
                  <a:pt x="3189768" y="158944"/>
                </a:cubicBezTo>
                <a:cubicBezTo>
                  <a:pt x="3185539" y="156594"/>
                  <a:pt x="3181780" y="155419"/>
                  <a:pt x="3178490" y="155419"/>
                </a:cubicBezTo>
                <a:cubicBezTo>
                  <a:pt x="3170267" y="155419"/>
                  <a:pt x="3150766" y="157417"/>
                  <a:pt x="3119987" y="161411"/>
                </a:cubicBezTo>
                <a:cubicBezTo>
                  <a:pt x="3127976" y="165640"/>
                  <a:pt x="3133027" y="169399"/>
                  <a:pt x="3135142" y="172688"/>
                </a:cubicBezTo>
                <a:cubicBezTo>
                  <a:pt x="3135612" y="173628"/>
                  <a:pt x="3135847" y="174450"/>
                  <a:pt x="3135847" y="175155"/>
                </a:cubicBezTo>
                <a:cubicBezTo>
                  <a:pt x="3135847" y="177035"/>
                  <a:pt x="3135259" y="178914"/>
                  <a:pt x="3134085" y="180794"/>
                </a:cubicBezTo>
                <a:cubicBezTo>
                  <a:pt x="3138783" y="179854"/>
                  <a:pt x="3142190" y="179032"/>
                  <a:pt x="3144305" y="178327"/>
                </a:cubicBezTo>
                <a:cubicBezTo>
                  <a:pt x="3149944" y="176917"/>
                  <a:pt x="3154291" y="176213"/>
                  <a:pt x="3157344" y="176213"/>
                </a:cubicBezTo>
                <a:cubicBezTo>
                  <a:pt x="3158519" y="176213"/>
                  <a:pt x="3160751" y="176448"/>
                  <a:pt x="3164040" y="176917"/>
                </a:cubicBezTo>
                <a:cubicBezTo>
                  <a:pt x="3168035" y="177622"/>
                  <a:pt x="3172205" y="179267"/>
                  <a:pt x="3176552" y="181851"/>
                </a:cubicBezTo>
                <a:cubicBezTo>
                  <a:pt x="3180898" y="184436"/>
                  <a:pt x="3183542" y="186903"/>
                  <a:pt x="3184481" y="189252"/>
                </a:cubicBezTo>
                <a:cubicBezTo>
                  <a:pt x="3184951" y="190427"/>
                  <a:pt x="3185186" y="192307"/>
                  <a:pt x="3185186" y="194891"/>
                </a:cubicBezTo>
                <a:cubicBezTo>
                  <a:pt x="3185186" y="199825"/>
                  <a:pt x="3183776" y="204289"/>
                  <a:pt x="3180957" y="208283"/>
                </a:cubicBezTo>
                <a:cubicBezTo>
                  <a:pt x="3178138" y="212277"/>
                  <a:pt x="3174731" y="214274"/>
                  <a:pt x="3170737" y="214274"/>
                </a:cubicBezTo>
                <a:cubicBezTo>
                  <a:pt x="3169797" y="214274"/>
                  <a:pt x="3168622" y="214040"/>
                  <a:pt x="3167212" y="213570"/>
                </a:cubicBezTo>
                <a:cubicBezTo>
                  <a:pt x="3159929" y="210280"/>
                  <a:pt x="3155347" y="207813"/>
                  <a:pt x="3153468" y="206169"/>
                </a:cubicBezTo>
                <a:cubicBezTo>
                  <a:pt x="3146654" y="207109"/>
                  <a:pt x="3142895" y="207578"/>
                  <a:pt x="3142190" y="207578"/>
                </a:cubicBezTo>
                <a:cubicBezTo>
                  <a:pt x="3137257" y="207578"/>
                  <a:pt x="3132675" y="207813"/>
                  <a:pt x="3128446" y="208283"/>
                </a:cubicBezTo>
                <a:lnTo>
                  <a:pt x="3127741" y="217799"/>
                </a:lnTo>
                <a:cubicBezTo>
                  <a:pt x="3143952" y="222498"/>
                  <a:pt x="3154055" y="225435"/>
                  <a:pt x="3158050" y="226609"/>
                </a:cubicBezTo>
                <a:cubicBezTo>
                  <a:pt x="3180839" y="233423"/>
                  <a:pt x="3200399" y="238885"/>
                  <a:pt x="3216728" y="242997"/>
                </a:cubicBezTo>
                <a:cubicBezTo>
                  <a:pt x="3233057" y="247109"/>
                  <a:pt x="3248153" y="250104"/>
                  <a:pt x="3262015" y="251984"/>
                </a:cubicBezTo>
                <a:cubicBezTo>
                  <a:pt x="3256376" y="254333"/>
                  <a:pt x="3251618" y="257740"/>
                  <a:pt x="3247742" y="262204"/>
                </a:cubicBezTo>
                <a:cubicBezTo>
                  <a:pt x="3243865" y="266668"/>
                  <a:pt x="3238755" y="273482"/>
                  <a:pt x="3232411" y="282645"/>
                </a:cubicBezTo>
                <a:cubicBezTo>
                  <a:pt x="3225833" y="292748"/>
                  <a:pt x="3220017" y="300266"/>
                  <a:pt x="3214966" y="305200"/>
                </a:cubicBezTo>
                <a:cubicBezTo>
                  <a:pt x="3209914" y="310134"/>
                  <a:pt x="3203630" y="312601"/>
                  <a:pt x="3196111" y="312601"/>
                </a:cubicBezTo>
                <a:cubicBezTo>
                  <a:pt x="3192822" y="312601"/>
                  <a:pt x="3189063" y="311896"/>
                  <a:pt x="3184834" y="310486"/>
                </a:cubicBezTo>
                <a:cubicBezTo>
                  <a:pt x="3174966" y="307432"/>
                  <a:pt x="3164276" y="301793"/>
                  <a:pt x="3152763" y="293570"/>
                </a:cubicBezTo>
                <a:cubicBezTo>
                  <a:pt x="3141251" y="285347"/>
                  <a:pt x="3126801" y="274069"/>
                  <a:pt x="3109415" y="259737"/>
                </a:cubicBezTo>
                <a:cubicBezTo>
                  <a:pt x="3100722" y="252454"/>
                  <a:pt x="3091735" y="245170"/>
                  <a:pt x="3082454" y="237887"/>
                </a:cubicBezTo>
                <a:cubicBezTo>
                  <a:pt x="3073174" y="230603"/>
                  <a:pt x="3064892" y="224730"/>
                  <a:pt x="3057608" y="220266"/>
                </a:cubicBezTo>
                <a:cubicBezTo>
                  <a:pt x="3048210" y="235302"/>
                  <a:pt x="3036404" y="247402"/>
                  <a:pt x="3022190" y="256565"/>
                </a:cubicBezTo>
                <a:cubicBezTo>
                  <a:pt x="3007975" y="265729"/>
                  <a:pt x="2993350" y="270310"/>
                  <a:pt x="2978313" y="270310"/>
                </a:cubicBezTo>
                <a:cubicBezTo>
                  <a:pt x="2970324" y="270310"/>
                  <a:pt x="2962924" y="269018"/>
                  <a:pt x="2956110" y="266433"/>
                </a:cubicBezTo>
                <a:cubicBezTo>
                  <a:pt x="2964568" y="263144"/>
                  <a:pt x="2974671" y="255802"/>
                  <a:pt x="2986418" y="244407"/>
                </a:cubicBezTo>
                <a:cubicBezTo>
                  <a:pt x="2998166" y="233012"/>
                  <a:pt x="3008386" y="220736"/>
                  <a:pt x="3017080" y="207578"/>
                </a:cubicBezTo>
                <a:cubicBezTo>
                  <a:pt x="3025773" y="194421"/>
                  <a:pt x="3030119" y="183496"/>
                  <a:pt x="3030119" y="174803"/>
                </a:cubicBezTo>
                <a:lnTo>
                  <a:pt x="3029062" y="173746"/>
                </a:lnTo>
                <a:lnTo>
                  <a:pt x="2984304" y="179737"/>
                </a:lnTo>
                <a:cubicBezTo>
                  <a:pt x="2978900" y="179502"/>
                  <a:pt x="2973144" y="175743"/>
                  <a:pt x="2967035" y="168459"/>
                </a:cubicBezTo>
                <a:cubicBezTo>
                  <a:pt x="2960926" y="161176"/>
                  <a:pt x="2957050" y="154480"/>
                  <a:pt x="2955405" y="148371"/>
                </a:cubicBezTo>
                <a:lnTo>
                  <a:pt x="2955405" y="148019"/>
                </a:lnTo>
                <a:cubicBezTo>
                  <a:pt x="2955405" y="147549"/>
                  <a:pt x="2955875" y="147314"/>
                  <a:pt x="2956815" y="147314"/>
                </a:cubicBezTo>
                <a:lnTo>
                  <a:pt x="2960339" y="148019"/>
                </a:lnTo>
                <a:cubicBezTo>
                  <a:pt x="2963863" y="150133"/>
                  <a:pt x="2968093" y="151190"/>
                  <a:pt x="2973027" y="151190"/>
                </a:cubicBezTo>
                <a:cubicBezTo>
                  <a:pt x="2978900" y="150955"/>
                  <a:pt x="3000574" y="147784"/>
                  <a:pt x="3038049" y="141675"/>
                </a:cubicBezTo>
                <a:cubicBezTo>
                  <a:pt x="3075523" y="135566"/>
                  <a:pt x="3109767" y="129810"/>
                  <a:pt x="3140781" y="124406"/>
                </a:cubicBezTo>
                <a:lnTo>
                  <a:pt x="3139723" y="124054"/>
                </a:lnTo>
                <a:cubicBezTo>
                  <a:pt x="3139489" y="123819"/>
                  <a:pt x="3138783" y="123701"/>
                  <a:pt x="3137609" y="123701"/>
                </a:cubicBezTo>
                <a:cubicBezTo>
                  <a:pt x="3136199" y="123701"/>
                  <a:pt x="3135024" y="123819"/>
                  <a:pt x="3134085" y="124054"/>
                </a:cubicBezTo>
                <a:lnTo>
                  <a:pt x="3130913" y="124054"/>
                </a:lnTo>
                <a:cubicBezTo>
                  <a:pt x="3121045" y="124993"/>
                  <a:pt x="3096728" y="128753"/>
                  <a:pt x="3057961" y="135331"/>
                </a:cubicBezTo>
                <a:cubicBezTo>
                  <a:pt x="3045979" y="137446"/>
                  <a:pt x="3039048" y="138621"/>
                  <a:pt x="3037167" y="138856"/>
                </a:cubicBezTo>
                <a:cubicBezTo>
                  <a:pt x="3034583" y="139325"/>
                  <a:pt x="3032233" y="138797"/>
                  <a:pt x="3030119" y="137270"/>
                </a:cubicBezTo>
                <a:cubicBezTo>
                  <a:pt x="3028005" y="135742"/>
                  <a:pt x="3026125" y="133687"/>
                  <a:pt x="3024480" y="131102"/>
                </a:cubicBezTo>
                <a:cubicBezTo>
                  <a:pt x="3023305" y="130162"/>
                  <a:pt x="3022483" y="128988"/>
                  <a:pt x="3022013" y="127578"/>
                </a:cubicBezTo>
                <a:cubicBezTo>
                  <a:pt x="3020604" y="123114"/>
                  <a:pt x="3019664" y="115713"/>
                  <a:pt x="3019194" y="105375"/>
                </a:cubicBezTo>
                <a:cubicBezTo>
                  <a:pt x="3018724" y="96212"/>
                  <a:pt x="3017902" y="89986"/>
                  <a:pt x="3016727" y="86697"/>
                </a:cubicBezTo>
                <a:cubicBezTo>
                  <a:pt x="3015552" y="83172"/>
                  <a:pt x="3012968" y="78121"/>
                  <a:pt x="3008974" y="71542"/>
                </a:cubicBezTo>
                <a:lnTo>
                  <a:pt x="3004744" y="64141"/>
                </a:lnTo>
                <a:cubicBezTo>
                  <a:pt x="3003335" y="61087"/>
                  <a:pt x="3002278" y="56564"/>
                  <a:pt x="3001573" y="50573"/>
                </a:cubicBezTo>
                <a:cubicBezTo>
                  <a:pt x="3000868" y="44582"/>
                  <a:pt x="3000516" y="40411"/>
                  <a:pt x="3000516" y="38062"/>
                </a:cubicBezTo>
                <a:cubicBezTo>
                  <a:pt x="3000516" y="37827"/>
                  <a:pt x="3001690" y="39237"/>
                  <a:pt x="3004040" y="42291"/>
                </a:cubicBezTo>
                <a:cubicBezTo>
                  <a:pt x="3006389" y="45345"/>
                  <a:pt x="3008856" y="48047"/>
                  <a:pt x="3011441" y="50397"/>
                </a:cubicBezTo>
                <a:cubicBezTo>
                  <a:pt x="3013555" y="52041"/>
                  <a:pt x="3015905" y="53392"/>
                  <a:pt x="3018489" y="54450"/>
                </a:cubicBezTo>
                <a:cubicBezTo>
                  <a:pt x="3021074" y="55507"/>
                  <a:pt x="3023188" y="56153"/>
                  <a:pt x="3024833" y="56388"/>
                </a:cubicBezTo>
                <a:cubicBezTo>
                  <a:pt x="3026477" y="56623"/>
                  <a:pt x="3028827" y="57034"/>
                  <a:pt x="3031881" y="57622"/>
                </a:cubicBezTo>
                <a:cubicBezTo>
                  <a:pt x="3034936" y="58209"/>
                  <a:pt x="3037344" y="59207"/>
                  <a:pt x="3039106" y="60617"/>
                </a:cubicBezTo>
                <a:cubicBezTo>
                  <a:pt x="3040868" y="62027"/>
                  <a:pt x="3042689" y="64376"/>
                  <a:pt x="3044569" y="67666"/>
                </a:cubicBezTo>
                <a:cubicBezTo>
                  <a:pt x="3054672" y="65786"/>
                  <a:pt x="3065009" y="63672"/>
                  <a:pt x="3075582" y="61322"/>
                </a:cubicBezTo>
                <a:cubicBezTo>
                  <a:pt x="3086155" y="58973"/>
                  <a:pt x="3092146" y="57680"/>
                  <a:pt x="3093556" y="57445"/>
                </a:cubicBezTo>
                <a:cubicBezTo>
                  <a:pt x="3097785" y="56975"/>
                  <a:pt x="3102014" y="57680"/>
                  <a:pt x="3106243" y="59560"/>
                </a:cubicBezTo>
                <a:cubicBezTo>
                  <a:pt x="3110472" y="61439"/>
                  <a:pt x="3114114" y="64376"/>
                  <a:pt x="3117168" y="68370"/>
                </a:cubicBezTo>
                <a:cubicBezTo>
                  <a:pt x="3121397" y="53804"/>
                  <a:pt x="3122924" y="46285"/>
                  <a:pt x="3121749" y="45815"/>
                </a:cubicBezTo>
                <a:cubicBezTo>
                  <a:pt x="3117051" y="46285"/>
                  <a:pt x="3109415" y="47284"/>
                  <a:pt x="3098842" y="48811"/>
                </a:cubicBezTo>
                <a:cubicBezTo>
                  <a:pt x="3088270" y="50338"/>
                  <a:pt x="3079224" y="51689"/>
                  <a:pt x="3071705" y="52864"/>
                </a:cubicBezTo>
                <a:cubicBezTo>
                  <a:pt x="3069356" y="53334"/>
                  <a:pt x="3067711" y="53569"/>
                  <a:pt x="3066771" y="53569"/>
                </a:cubicBezTo>
                <a:cubicBezTo>
                  <a:pt x="3059958" y="53569"/>
                  <a:pt x="3054672" y="51337"/>
                  <a:pt x="3050913" y="46873"/>
                </a:cubicBezTo>
                <a:cubicBezTo>
                  <a:pt x="3049503" y="45228"/>
                  <a:pt x="3046272" y="42585"/>
                  <a:pt x="3041221" y="38943"/>
                </a:cubicBezTo>
                <a:cubicBezTo>
                  <a:pt x="3036169" y="35301"/>
                  <a:pt x="3034231" y="33598"/>
                  <a:pt x="3035405" y="33833"/>
                </a:cubicBezTo>
                <a:cubicBezTo>
                  <a:pt x="3051147" y="32188"/>
                  <a:pt x="3067652" y="29545"/>
                  <a:pt x="3084921" y="25903"/>
                </a:cubicBezTo>
                <a:cubicBezTo>
                  <a:pt x="3102190" y="22262"/>
                  <a:pt x="3118460" y="17856"/>
                  <a:pt x="3133732" y="12687"/>
                </a:cubicBezTo>
                <a:close/>
                <a:moveTo>
                  <a:pt x="1808766" y="11983"/>
                </a:moveTo>
                <a:cubicBezTo>
                  <a:pt x="1812761" y="17856"/>
                  <a:pt x="1816755" y="22203"/>
                  <a:pt x="1820749" y="25022"/>
                </a:cubicBezTo>
                <a:cubicBezTo>
                  <a:pt x="1823568" y="26197"/>
                  <a:pt x="1827210" y="27137"/>
                  <a:pt x="1831674" y="27842"/>
                </a:cubicBezTo>
                <a:cubicBezTo>
                  <a:pt x="1837313" y="28781"/>
                  <a:pt x="1842071" y="29956"/>
                  <a:pt x="1845947" y="31366"/>
                </a:cubicBezTo>
                <a:cubicBezTo>
                  <a:pt x="1849824" y="32776"/>
                  <a:pt x="1852467" y="34773"/>
                  <a:pt x="1853877" y="37357"/>
                </a:cubicBezTo>
                <a:cubicBezTo>
                  <a:pt x="1854582" y="39002"/>
                  <a:pt x="1854934" y="40881"/>
                  <a:pt x="1854934" y="42996"/>
                </a:cubicBezTo>
                <a:cubicBezTo>
                  <a:pt x="1854934" y="46990"/>
                  <a:pt x="1853877" y="51278"/>
                  <a:pt x="1851762" y="55859"/>
                </a:cubicBezTo>
                <a:cubicBezTo>
                  <a:pt x="1849648" y="60441"/>
                  <a:pt x="1847769" y="63437"/>
                  <a:pt x="1846124" y="64846"/>
                </a:cubicBezTo>
                <a:cubicBezTo>
                  <a:pt x="1845419" y="65316"/>
                  <a:pt x="1842893" y="65316"/>
                  <a:pt x="1838546" y="64846"/>
                </a:cubicBezTo>
                <a:cubicBezTo>
                  <a:pt x="1834200" y="64376"/>
                  <a:pt x="1830617" y="63319"/>
                  <a:pt x="1827798" y="61674"/>
                </a:cubicBezTo>
                <a:cubicBezTo>
                  <a:pt x="1822864" y="59325"/>
                  <a:pt x="1818282" y="55918"/>
                  <a:pt x="1814053" y="51454"/>
                </a:cubicBezTo>
                <a:lnTo>
                  <a:pt x="1817930" y="51454"/>
                </a:lnTo>
                <a:cubicBezTo>
                  <a:pt x="1824039" y="51454"/>
                  <a:pt x="1827210" y="50867"/>
                  <a:pt x="1827445" y="49692"/>
                </a:cubicBezTo>
                <a:cubicBezTo>
                  <a:pt x="1827680" y="46873"/>
                  <a:pt x="1825448" y="43231"/>
                  <a:pt x="1820749" y="38767"/>
                </a:cubicBezTo>
                <a:cubicBezTo>
                  <a:pt x="1818399" y="35478"/>
                  <a:pt x="1815991" y="31072"/>
                  <a:pt x="1813524" y="25551"/>
                </a:cubicBezTo>
                <a:cubicBezTo>
                  <a:pt x="1811057" y="20030"/>
                  <a:pt x="1809471" y="15507"/>
                  <a:pt x="1808766" y="11983"/>
                </a:cubicBezTo>
                <a:close/>
                <a:moveTo>
                  <a:pt x="241599" y="8458"/>
                </a:moveTo>
                <a:cubicBezTo>
                  <a:pt x="246063" y="8458"/>
                  <a:pt x="251820" y="11043"/>
                  <a:pt x="258868" y="16212"/>
                </a:cubicBezTo>
                <a:cubicBezTo>
                  <a:pt x="267091" y="21850"/>
                  <a:pt x="273141" y="27313"/>
                  <a:pt x="277018" y="32599"/>
                </a:cubicBezTo>
                <a:cubicBezTo>
                  <a:pt x="280895" y="37886"/>
                  <a:pt x="282833" y="42291"/>
                  <a:pt x="282833" y="45815"/>
                </a:cubicBezTo>
                <a:cubicBezTo>
                  <a:pt x="282833" y="46520"/>
                  <a:pt x="282598" y="47577"/>
                  <a:pt x="282128" y="48987"/>
                </a:cubicBezTo>
                <a:cubicBezTo>
                  <a:pt x="279544" y="53451"/>
                  <a:pt x="278251" y="58150"/>
                  <a:pt x="278251" y="63084"/>
                </a:cubicBezTo>
                <a:cubicBezTo>
                  <a:pt x="278016" y="69193"/>
                  <a:pt x="277781" y="80823"/>
                  <a:pt x="277546" y="97974"/>
                </a:cubicBezTo>
                <a:cubicBezTo>
                  <a:pt x="277312" y="115126"/>
                  <a:pt x="277194" y="135331"/>
                  <a:pt x="277194" y="158591"/>
                </a:cubicBezTo>
                <a:cubicBezTo>
                  <a:pt x="277194" y="219913"/>
                  <a:pt x="277899" y="256918"/>
                  <a:pt x="279309" y="269605"/>
                </a:cubicBezTo>
                <a:lnTo>
                  <a:pt x="279661" y="272777"/>
                </a:lnTo>
                <a:cubicBezTo>
                  <a:pt x="279661" y="279356"/>
                  <a:pt x="277018" y="284759"/>
                  <a:pt x="271732" y="288989"/>
                </a:cubicBezTo>
                <a:cubicBezTo>
                  <a:pt x="266445" y="293218"/>
                  <a:pt x="260572" y="296155"/>
                  <a:pt x="254110" y="297799"/>
                </a:cubicBezTo>
                <a:cubicBezTo>
                  <a:pt x="247649" y="299444"/>
                  <a:pt x="243596" y="299796"/>
                  <a:pt x="241952" y="298856"/>
                </a:cubicBezTo>
                <a:cubicBezTo>
                  <a:pt x="238662" y="297447"/>
                  <a:pt x="229264" y="282645"/>
                  <a:pt x="213758" y="254451"/>
                </a:cubicBezTo>
                <a:cubicBezTo>
                  <a:pt x="219397" y="254451"/>
                  <a:pt x="224448" y="253981"/>
                  <a:pt x="228912" y="253041"/>
                </a:cubicBezTo>
                <a:cubicBezTo>
                  <a:pt x="233376" y="252101"/>
                  <a:pt x="235961" y="250692"/>
                  <a:pt x="236665" y="248812"/>
                </a:cubicBezTo>
                <a:cubicBezTo>
                  <a:pt x="237135" y="247402"/>
                  <a:pt x="237370" y="227902"/>
                  <a:pt x="237370" y="190310"/>
                </a:cubicBezTo>
                <a:cubicBezTo>
                  <a:pt x="235726" y="191719"/>
                  <a:pt x="233493" y="192424"/>
                  <a:pt x="230674" y="192424"/>
                </a:cubicBezTo>
                <a:cubicBezTo>
                  <a:pt x="228560" y="192424"/>
                  <a:pt x="225975" y="191837"/>
                  <a:pt x="222920" y="190662"/>
                </a:cubicBezTo>
                <a:cubicBezTo>
                  <a:pt x="221746" y="190662"/>
                  <a:pt x="220219" y="189781"/>
                  <a:pt x="218339" y="188019"/>
                </a:cubicBezTo>
                <a:cubicBezTo>
                  <a:pt x="216460" y="186257"/>
                  <a:pt x="214228" y="185493"/>
                  <a:pt x="211643" y="185728"/>
                </a:cubicBezTo>
                <a:lnTo>
                  <a:pt x="203890" y="186785"/>
                </a:lnTo>
                <a:cubicBezTo>
                  <a:pt x="194022" y="187960"/>
                  <a:pt x="184624" y="189605"/>
                  <a:pt x="175696" y="191719"/>
                </a:cubicBezTo>
                <a:lnTo>
                  <a:pt x="172172" y="192424"/>
                </a:lnTo>
                <a:cubicBezTo>
                  <a:pt x="163948" y="220618"/>
                  <a:pt x="152906" y="244172"/>
                  <a:pt x="139044" y="263085"/>
                </a:cubicBezTo>
                <a:cubicBezTo>
                  <a:pt x="125182" y="281999"/>
                  <a:pt x="109322" y="292630"/>
                  <a:pt x="91466" y="294980"/>
                </a:cubicBezTo>
                <a:cubicBezTo>
                  <a:pt x="99924" y="280883"/>
                  <a:pt x="107913" y="264201"/>
                  <a:pt x="115431" y="244935"/>
                </a:cubicBezTo>
                <a:cubicBezTo>
                  <a:pt x="110732" y="246110"/>
                  <a:pt x="104212" y="247579"/>
                  <a:pt x="95871" y="249341"/>
                </a:cubicBezTo>
                <a:cubicBezTo>
                  <a:pt x="87531" y="251103"/>
                  <a:pt x="83478" y="251632"/>
                  <a:pt x="83713" y="250927"/>
                </a:cubicBezTo>
                <a:cubicBezTo>
                  <a:pt x="79014" y="242468"/>
                  <a:pt x="75020" y="234363"/>
                  <a:pt x="71731" y="226609"/>
                </a:cubicBezTo>
                <a:cubicBezTo>
                  <a:pt x="44711" y="227784"/>
                  <a:pt x="28030" y="228841"/>
                  <a:pt x="21686" y="229781"/>
                </a:cubicBezTo>
                <a:lnTo>
                  <a:pt x="20981" y="229781"/>
                </a:lnTo>
                <a:cubicBezTo>
                  <a:pt x="18867" y="229781"/>
                  <a:pt x="17105" y="228841"/>
                  <a:pt x="15695" y="226962"/>
                </a:cubicBezTo>
                <a:cubicBezTo>
                  <a:pt x="13345" y="226022"/>
                  <a:pt x="11936" y="224142"/>
                  <a:pt x="11466" y="221323"/>
                </a:cubicBezTo>
                <a:cubicBezTo>
                  <a:pt x="11231" y="220383"/>
                  <a:pt x="11113" y="216389"/>
                  <a:pt x="11113" y="209341"/>
                </a:cubicBezTo>
                <a:cubicBezTo>
                  <a:pt x="11113" y="199473"/>
                  <a:pt x="11231" y="191484"/>
                  <a:pt x="11466" y="185376"/>
                </a:cubicBezTo>
                <a:lnTo>
                  <a:pt x="11818" y="154010"/>
                </a:lnTo>
                <a:cubicBezTo>
                  <a:pt x="11818" y="139208"/>
                  <a:pt x="11348" y="130045"/>
                  <a:pt x="10409" y="126521"/>
                </a:cubicBezTo>
                <a:cubicBezTo>
                  <a:pt x="8999" y="122526"/>
                  <a:pt x="7354" y="118943"/>
                  <a:pt x="5475" y="115772"/>
                </a:cubicBezTo>
                <a:cubicBezTo>
                  <a:pt x="3595" y="112600"/>
                  <a:pt x="2538" y="110661"/>
                  <a:pt x="2303" y="109957"/>
                </a:cubicBezTo>
                <a:cubicBezTo>
                  <a:pt x="658" y="106902"/>
                  <a:pt x="-106" y="102438"/>
                  <a:pt x="12" y="96565"/>
                </a:cubicBezTo>
                <a:cubicBezTo>
                  <a:pt x="129" y="90691"/>
                  <a:pt x="188" y="87636"/>
                  <a:pt x="188" y="87401"/>
                </a:cubicBezTo>
                <a:cubicBezTo>
                  <a:pt x="188" y="87167"/>
                  <a:pt x="1187" y="88400"/>
                  <a:pt x="3184" y="91102"/>
                </a:cubicBezTo>
                <a:cubicBezTo>
                  <a:pt x="5181" y="93804"/>
                  <a:pt x="7237" y="96212"/>
                  <a:pt x="9351" y="98327"/>
                </a:cubicBezTo>
                <a:cubicBezTo>
                  <a:pt x="10761" y="99736"/>
                  <a:pt x="12523" y="101029"/>
                  <a:pt x="14638" y="102203"/>
                </a:cubicBezTo>
                <a:cubicBezTo>
                  <a:pt x="16752" y="103378"/>
                  <a:pt x="18397" y="104083"/>
                  <a:pt x="19572" y="104318"/>
                </a:cubicBezTo>
                <a:cubicBezTo>
                  <a:pt x="21686" y="105023"/>
                  <a:pt x="24858" y="105610"/>
                  <a:pt x="29087" y="106080"/>
                </a:cubicBezTo>
                <a:cubicBezTo>
                  <a:pt x="33786" y="106550"/>
                  <a:pt x="37427" y="107313"/>
                  <a:pt x="40012" y="108371"/>
                </a:cubicBezTo>
                <a:cubicBezTo>
                  <a:pt x="42597" y="109428"/>
                  <a:pt x="44594" y="111484"/>
                  <a:pt x="46004" y="114538"/>
                </a:cubicBezTo>
                <a:cubicBezTo>
                  <a:pt x="46943" y="116653"/>
                  <a:pt x="47648" y="121704"/>
                  <a:pt x="48118" y="129692"/>
                </a:cubicBezTo>
                <a:cubicBezTo>
                  <a:pt x="54697" y="128048"/>
                  <a:pt x="60453" y="126051"/>
                  <a:pt x="65387" y="123701"/>
                </a:cubicBezTo>
                <a:cubicBezTo>
                  <a:pt x="67501" y="122761"/>
                  <a:pt x="70086" y="122292"/>
                  <a:pt x="73140" y="122292"/>
                </a:cubicBezTo>
                <a:cubicBezTo>
                  <a:pt x="77134" y="122292"/>
                  <a:pt x="81363" y="123231"/>
                  <a:pt x="85828" y="125111"/>
                </a:cubicBezTo>
                <a:lnTo>
                  <a:pt x="85828" y="108899"/>
                </a:lnTo>
                <a:cubicBezTo>
                  <a:pt x="85828" y="95977"/>
                  <a:pt x="85710" y="89399"/>
                  <a:pt x="85475" y="89164"/>
                </a:cubicBezTo>
                <a:cubicBezTo>
                  <a:pt x="85475" y="88459"/>
                  <a:pt x="79249" y="89516"/>
                  <a:pt x="66796" y="92335"/>
                </a:cubicBezTo>
                <a:cubicBezTo>
                  <a:pt x="54344" y="95155"/>
                  <a:pt x="47531" y="96682"/>
                  <a:pt x="46356" y="96917"/>
                </a:cubicBezTo>
                <a:cubicBezTo>
                  <a:pt x="43537" y="97622"/>
                  <a:pt x="39836" y="96858"/>
                  <a:pt x="35255" y="94626"/>
                </a:cubicBezTo>
                <a:cubicBezTo>
                  <a:pt x="30673" y="92394"/>
                  <a:pt x="27443" y="90103"/>
                  <a:pt x="25563" y="87754"/>
                </a:cubicBezTo>
                <a:cubicBezTo>
                  <a:pt x="24623" y="86344"/>
                  <a:pt x="22978" y="84641"/>
                  <a:pt x="20629" y="82644"/>
                </a:cubicBezTo>
                <a:cubicBezTo>
                  <a:pt x="18279" y="80647"/>
                  <a:pt x="16576" y="79119"/>
                  <a:pt x="15519" y="78062"/>
                </a:cubicBezTo>
                <a:cubicBezTo>
                  <a:pt x="14461" y="77005"/>
                  <a:pt x="14403" y="76476"/>
                  <a:pt x="15342" y="76476"/>
                </a:cubicBezTo>
                <a:cubicBezTo>
                  <a:pt x="26855" y="76241"/>
                  <a:pt x="38250" y="75067"/>
                  <a:pt x="49528" y="72952"/>
                </a:cubicBezTo>
                <a:cubicBezTo>
                  <a:pt x="60805" y="70837"/>
                  <a:pt x="74432" y="66961"/>
                  <a:pt x="90409" y="61322"/>
                </a:cubicBezTo>
                <a:cubicBezTo>
                  <a:pt x="95108" y="59677"/>
                  <a:pt x="98280" y="57915"/>
                  <a:pt x="99924" y="56036"/>
                </a:cubicBezTo>
                <a:cubicBezTo>
                  <a:pt x="101569" y="54156"/>
                  <a:pt x="102391" y="53216"/>
                  <a:pt x="102391" y="53216"/>
                </a:cubicBezTo>
                <a:cubicBezTo>
                  <a:pt x="103566" y="52041"/>
                  <a:pt x="106973" y="52981"/>
                  <a:pt x="112612" y="56036"/>
                </a:cubicBezTo>
                <a:cubicBezTo>
                  <a:pt x="118250" y="59090"/>
                  <a:pt x="123420" y="62849"/>
                  <a:pt x="128119" y="67313"/>
                </a:cubicBezTo>
                <a:cubicBezTo>
                  <a:pt x="127649" y="65434"/>
                  <a:pt x="127414" y="63906"/>
                  <a:pt x="127414" y="62732"/>
                </a:cubicBezTo>
                <a:cubicBezTo>
                  <a:pt x="127414" y="60617"/>
                  <a:pt x="127883" y="58738"/>
                  <a:pt x="128823" y="57093"/>
                </a:cubicBezTo>
                <a:cubicBezTo>
                  <a:pt x="129763" y="59207"/>
                  <a:pt x="131114" y="60970"/>
                  <a:pt x="132876" y="62379"/>
                </a:cubicBezTo>
                <a:cubicBezTo>
                  <a:pt x="134638" y="63789"/>
                  <a:pt x="136694" y="64376"/>
                  <a:pt x="139044" y="64141"/>
                </a:cubicBezTo>
                <a:cubicBezTo>
                  <a:pt x="143743" y="64141"/>
                  <a:pt x="156195" y="65081"/>
                  <a:pt x="176401" y="66961"/>
                </a:cubicBezTo>
                <a:cubicBezTo>
                  <a:pt x="180160" y="68605"/>
                  <a:pt x="183214" y="71190"/>
                  <a:pt x="185563" y="74714"/>
                </a:cubicBezTo>
                <a:cubicBezTo>
                  <a:pt x="186739" y="76124"/>
                  <a:pt x="187326" y="77651"/>
                  <a:pt x="187326" y="79296"/>
                </a:cubicBezTo>
                <a:cubicBezTo>
                  <a:pt x="187326" y="80235"/>
                  <a:pt x="186915" y="81704"/>
                  <a:pt x="186092" y="83701"/>
                </a:cubicBezTo>
                <a:cubicBezTo>
                  <a:pt x="185270" y="85698"/>
                  <a:pt x="184859" y="87519"/>
                  <a:pt x="184859" y="89164"/>
                </a:cubicBezTo>
                <a:cubicBezTo>
                  <a:pt x="185094" y="93158"/>
                  <a:pt x="185211" y="99266"/>
                  <a:pt x="185211" y="107490"/>
                </a:cubicBezTo>
                <a:cubicBezTo>
                  <a:pt x="191555" y="104905"/>
                  <a:pt x="197311" y="102203"/>
                  <a:pt x="202480" y="99384"/>
                </a:cubicBezTo>
                <a:cubicBezTo>
                  <a:pt x="205535" y="97739"/>
                  <a:pt x="208589" y="96917"/>
                  <a:pt x="211643" y="96917"/>
                </a:cubicBezTo>
                <a:cubicBezTo>
                  <a:pt x="219867" y="96917"/>
                  <a:pt x="228325" y="101733"/>
                  <a:pt x="237018" y="111366"/>
                </a:cubicBezTo>
                <a:cubicBezTo>
                  <a:pt x="236548" y="71190"/>
                  <a:pt x="235491" y="50397"/>
                  <a:pt x="233846" y="48987"/>
                </a:cubicBezTo>
                <a:cubicBezTo>
                  <a:pt x="231966" y="47342"/>
                  <a:pt x="228912" y="46520"/>
                  <a:pt x="224683" y="46520"/>
                </a:cubicBezTo>
                <a:cubicBezTo>
                  <a:pt x="223508" y="46520"/>
                  <a:pt x="220571" y="46755"/>
                  <a:pt x="215872" y="47225"/>
                </a:cubicBezTo>
                <a:cubicBezTo>
                  <a:pt x="212113" y="47930"/>
                  <a:pt x="202598" y="49927"/>
                  <a:pt x="187326" y="53216"/>
                </a:cubicBezTo>
                <a:cubicBezTo>
                  <a:pt x="185446" y="53686"/>
                  <a:pt x="180806" y="54743"/>
                  <a:pt x="173405" y="56388"/>
                </a:cubicBezTo>
                <a:cubicBezTo>
                  <a:pt x="166004" y="58033"/>
                  <a:pt x="160542" y="58855"/>
                  <a:pt x="157017" y="58855"/>
                </a:cubicBezTo>
                <a:cubicBezTo>
                  <a:pt x="153493" y="58855"/>
                  <a:pt x="149499" y="57622"/>
                  <a:pt x="145035" y="55155"/>
                </a:cubicBezTo>
                <a:cubicBezTo>
                  <a:pt x="140571" y="52688"/>
                  <a:pt x="136753" y="49575"/>
                  <a:pt x="133581" y="45815"/>
                </a:cubicBezTo>
                <a:cubicBezTo>
                  <a:pt x="130409" y="42056"/>
                  <a:pt x="128941" y="38532"/>
                  <a:pt x="129176" y="35243"/>
                </a:cubicBezTo>
                <a:cubicBezTo>
                  <a:pt x="135755" y="39237"/>
                  <a:pt x="142333" y="41234"/>
                  <a:pt x="148912" y="41234"/>
                </a:cubicBezTo>
                <a:cubicBezTo>
                  <a:pt x="151731" y="41234"/>
                  <a:pt x="154433" y="40764"/>
                  <a:pt x="157017" y="39824"/>
                </a:cubicBezTo>
                <a:cubicBezTo>
                  <a:pt x="158897" y="39119"/>
                  <a:pt x="165593" y="37005"/>
                  <a:pt x="177105" y="33480"/>
                </a:cubicBezTo>
                <a:cubicBezTo>
                  <a:pt x="199895" y="27137"/>
                  <a:pt x="215167" y="21968"/>
                  <a:pt x="222920" y="17974"/>
                </a:cubicBezTo>
                <a:cubicBezTo>
                  <a:pt x="224331" y="17269"/>
                  <a:pt x="226798" y="15742"/>
                  <a:pt x="230321" y="13392"/>
                </a:cubicBezTo>
                <a:cubicBezTo>
                  <a:pt x="232671" y="11748"/>
                  <a:pt x="234668" y="10514"/>
                  <a:pt x="236313" y="9692"/>
                </a:cubicBezTo>
                <a:cubicBezTo>
                  <a:pt x="237958" y="8869"/>
                  <a:pt x="239720" y="8458"/>
                  <a:pt x="241599" y="8458"/>
                </a:cubicBezTo>
                <a:close/>
                <a:moveTo>
                  <a:pt x="4290953" y="7049"/>
                </a:moveTo>
                <a:cubicBezTo>
                  <a:pt x="4291423" y="7753"/>
                  <a:pt x="4292539" y="8693"/>
                  <a:pt x="4294301" y="9868"/>
                </a:cubicBezTo>
                <a:cubicBezTo>
                  <a:pt x="4296063" y="11043"/>
                  <a:pt x="4298119" y="11865"/>
                  <a:pt x="4300468" y="12335"/>
                </a:cubicBezTo>
                <a:cubicBezTo>
                  <a:pt x="4304463" y="12805"/>
                  <a:pt x="4307987" y="12922"/>
                  <a:pt x="4311041" y="12687"/>
                </a:cubicBezTo>
                <a:cubicBezTo>
                  <a:pt x="4312451" y="12687"/>
                  <a:pt x="4314566" y="11748"/>
                  <a:pt x="4317385" y="9868"/>
                </a:cubicBezTo>
                <a:cubicBezTo>
                  <a:pt x="4320204" y="7988"/>
                  <a:pt x="4322436" y="7166"/>
                  <a:pt x="4324081" y="7401"/>
                </a:cubicBezTo>
                <a:cubicBezTo>
                  <a:pt x="4326665" y="7871"/>
                  <a:pt x="4331482" y="9985"/>
                  <a:pt x="4338530" y="13745"/>
                </a:cubicBezTo>
                <a:cubicBezTo>
                  <a:pt x="4345579" y="17504"/>
                  <a:pt x="4349455" y="20323"/>
                  <a:pt x="4350161" y="22203"/>
                </a:cubicBezTo>
                <a:cubicBezTo>
                  <a:pt x="4350630" y="23613"/>
                  <a:pt x="4350865" y="24787"/>
                  <a:pt x="4350865" y="25727"/>
                </a:cubicBezTo>
                <a:cubicBezTo>
                  <a:pt x="4350865" y="27607"/>
                  <a:pt x="4350395" y="29428"/>
                  <a:pt x="4349455" y="31190"/>
                </a:cubicBezTo>
                <a:cubicBezTo>
                  <a:pt x="4348516" y="32952"/>
                  <a:pt x="4347341" y="34420"/>
                  <a:pt x="4345931" y="35595"/>
                </a:cubicBezTo>
                <a:cubicBezTo>
                  <a:pt x="4342172" y="38649"/>
                  <a:pt x="4338178" y="42526"/>
                  <a:pt x="4333949" y="47225"/>
                </a:cubicBezTo>
                <a:cubicBezTo>
                  <a:pt x="4349455" y="42291"/>
                  <a:pt x="4360616" y="39472"/>
                  <a:pt x="4367429" y="38767"/>
                </a:cubicBezTo>
                <a:cubicBezTo>
                  <a:pt x="4370484" y="38297"/>
                  <a:pt x="4374947" y="40588"/>
                  <a:pt x="4380821" y="45639"/>
                </a:cubicBezTo>
                <a:cubicBezTo>
                  <a:pt x="4386695" y="50691"/>
                  <a:pt x="4390337" y="54978"/>
                  <a:pt x="4391746" y="58503"/>
                </a:cubicBezTo>
                <a:cubicBezTo>
                  <a:pt x="4392217" y="59912"/>
                  <a:pt x="4392452" y="60970"/>
                  <a:pt x="4392452" y="61674"/>
                </a:cubicBezTo>
                <a:cubicBezTo>
                  <a:pt x="4392452" y="65434"/>
                  <a:pt x="4390689" y="69075"/>
                  <a:pt x="4387165" y="72600"/>
                </a:cubicBezTo>
                <a:cubicBezTo>
                  <a:pt x="4383640" y="76124"/>
                  <a:pt x="4379412" y="77886"/>
                  <a:pt x="4374478" y="77886"/>
                </a:cubicBezTo>
                <a:cubicBezTo>
                  <a:pt x="4371423" y="77886"/>
                  <a:pt x="4368722" y="77299"/>
                  <a:pt x="4366372" y="76124"/>
                </a:cubicBezTo>
                <a:cubicBezTo>
                  <a:pt x="4369896" y="78943"/>
                  <a:pt x="4372011" y="81763"/>
                  <a:pt x="4372716" y="84582"/>
                </a:cubicBezTo>
                <a:cubicBezTo>
                  <a:pt x="4372950" y="87167"/>
                  <a:pt x="4372539" y="89868"/>
                  <a:pt x="4371482" y="92688"/>
                </a:cubicBezTo>
                <a:cubicBezTo>
                  <a:pt x="4370425" y="95507"/>
                  <a:pt x="4368956" y="97857"/>
                  <a:pt x="4367077" y="99736"/>
                </a:cubicBezTo>
                <a:cubicBezTo>
                  <a:pt x="4365902" y="100676"/>
                  <a:pt x="4364492" y="102027"/>
                  <a:pt x="4362848" y="103789"/>
                </a:cubicBezTo>
                <a:cubicBezTo>
                  <a:pt x="4361203" y="105551"/>
                  <a:pt x="4359793" y="107020"/>
                  <a:pt x="4358619" y="108195"/>
                </a:cubicBezTo>
                <a:lnTo>
                  <a:pt x="4349808" y="117005"/>
                </a:lnTo>
                <a:cubicBezTo>
                  <a:pt x="4354272" y="115830"/>
                  <a:pt x="4357679" y="114891"/>
                  <a:pt x="4360028" y="114186"/>
                </a:cubicBezTo>
                <a:cubicBezTo>
                  <a:pt x="4362378" y="113481"/>
                  <a:pt x="4364140" y="113011"/>
                  <a:pt x="4365315" y="112776"/>
                </a:cubicBezTo>
                <a:cubicBezTo>
                  <a:pt x="4367194" y="112071"/>
                  <a:pt x="4369426" y="111308"/>
                  <a:pt x="4372011" y="110485"/>
                </a:cubicBezTo>
                <a:cubicBezTo>
                  <a:pt x="4374595" y="109663"/>
                  <a:pt x="4376533" y="109193"/>
                  <a:pt x="4377826" y="109076"/>
                </a:cubicBezTo>
                <a:cubicBezTo>
                  <a:pt x="4379118" y="108958"/>
                  <a:pt x="4380352" y="109017"/>
                  <a:pt x="4381526" y="109252"/>
                </a:cubicBezTo>
                <a:cubicBezTo>
                  <a:pt x="4381996" y="109252"/>
                  <a:pt x="4382525" y="109369"/>
                  <a:pt x="4383112" y="109604"/>
                </a:cubicBezTo>
                <a:cubicBezTo>
                  <a:pt x="4383700" y="109839"/>
                  <a:pt x="4384346" y="110074"/>
                  <a:pt x="4385050" y="110309"/>
                </a:cubicBezTo>
                <a:cubicBezTo>
                  <a:pt x="4391159" y="106550"/>
                  <a:pt x="4397973" y="99501"/>
                  <a:pt x="4405491" y="89164"/>
                </a:cubicBezTo>
                <a:cubicBezTo>
                  <a:pt x="4413010" y="78826"/>
                  <a:pt x="4419530" y="68253"/>
                  <a:pt x="4425051" y="57445"/>
                </a:cubicBezTo>
                <a:cubicBezTo>
                  <a:pt x="4430572" y="46638"/>
                  <a:pt x="4433333" y="39354"/>
                  <a:pt x="4433333" y="35595"/>
                </a:cubicBezTo>
                <a:cubicBezTo>
                  <a:pt x="4433333" y="33950"/>
                  <a:pt x="4432451" y="32071"/>
                  <a:pt x="4430689" y="29956"/>
                </a:cubicBezTo>
                <a:cubicBezTo>
                  <a:pt x="4428927" y="27842"/>
                  <a:pt x="4428046" y="26080"/>
                  <a:pt x="4428046" y="24670"/>
                </a:cubicBezTo>
                <a:lnTo>
                  <a:pt x="4428046" y="23260"/>
                </a:lnTo>
                <a:cubicBezTo>
                  <a:pt x="4428046" y="22320"/>
                  <a:pt x="4427870" y="21204"/>
                  <a:pt x="4427517" y="19912"/>
                </a:cubicBezTo>
                <a:cubicBezTo>
                  <a:pt x="4427165" y="18620"/>
                  <a:pt x="4427106" y="17151"/>
                  <a:pt x="4427341" y="15507"/>
                </a:cubicBezTo>
                <a:cubicBezTo>
                  <a:pt x="4427576" y="12922"/>
                  <a:pt x="4428986" y="10690"/>
                  <a:pt x="4431571" y="8811"/>
                </a:cubicBezTo>
                <a:lnTo>
                  <a:pt x="4432628" y="11278"/>
                </a:lnTo>
                <a:cubicBezTo>
                  <a:pt x="4432628" y="13392"/>
                  <a:pt x="4433450" y="15272"/>
                  <a:pt x="4435095" y="16916"/>
                </a:cubicBezTo>
                <a:cubicBezTo>
                  <a:pt x="4436740" y="18561"/>
                  <a:pt x="4439441" y="19618"/>
                  <a:pt x="4443201" y="20088"/>
                </a:cubicBezTo>
                <a:cubicBezTo>
                  <a:pt x="4444845" y="20323"/>
                  <a:pt x="4447723" y="20558"/>
                  <a:pt x="4451835" y="20793"/>
                </a:cubicBezTo>
                <a:cubicBezTo>
                  <a:pt x="4455947" y="21028"/>
                  <a:pt x="4459353" y="21674"/>
                  <a:pt x="4462055" y="22731"/>
                </a:cubicBezTo>
                <a:cubicBezTo>
                  <a:pt x="4464757" y="23789"/>
                  <a:pt x="4467166" y="25257"/>
                  <a:pt x="4469280" y="27137"/>
                </a:cubicBezTo>
                <a:cubicBezTo>
                  <a:pt x="4473744" y="31131"/>
                  <a:pt x="4477973" y="39237"/>
                  <a:pt x="4481967" y="51454"/>
                </a:cubicBezTo>
                <a:cubicBezTo>
                  <a:pt x="4478678" y="54508"/>
                  <a:pt x="4475976" y="56036"/>
                  <a:pt x="4473862" y="56036"/>
                </a:cubicBezTo>
                <a:cubicBezTo>
                  <a:pt x="4459764" y="75771"/>
                  <a:pt x="4443436" y="90103"/>
                  <a:pt x="4424875" y="99031"/>
                </a:cubicBezTo>
                <a:lnTo>
                  <a:pt x="4436857" y="102203"/>
                </a:lnTo>
                <a:cubicBezTo>
                  <a:pt x="4446255" y="100324"/>
                  <a:pt x="4457532" y="97622"/>
                  <a:pt x="4470690" y="94098"/>
                </a:cubicBezTo>
                <a:lnTo>
                  <a:pt x="4481967" y="91278"/>
                </a:lnTo>
                <a:cubicBezTo>
                  <a:pt x="4491600" y="89164"/>
                  <a:pt x="4498414" y="88106"/>
                  <a:pt x="4502408" y="88106"/>
                </a:cubicBezTo>
                <a:cubicBezTo>
                  <a:pt x="4507812" y="88106"/>
                  <a:pt x="4511806" y="89399"/>
                  <a:pt x="4514391" y="91983"/>
                </a:cubicBezTo>
                <a:cubicBezTo>
                  <a:pt x="4515330" y="92688"/>
                  <a:pt x="4518972" y="95331"/>
                  <a:pt x="4525316" y="99913"/>
                </a:cubicBezTo>
                <a:cubicBezTo>
                  <a:pt x="4531659" y="104494"/>
                  <a:pt x="4535418" y="108664"/>
                  <a:pt x="4536593" y="112424"/>
                </a:cubicBezTo>
                <a:cubicBezTo>
                  <a:pt x="4537298" y="113363"/>
                  <a:pt x="4537650" y="114656"/>
                  <a:pt x="4537650" y="116300"/>
                </a:cubicBezTo>
                <a:cubicBezTo>
                  <a:pt x="4537650" y="120060"/>
                  <a:pt x="4535947" y="123701"/>
                  <a:pt x="4532540" y="127225"/>
                </a:cubicBezTo>
                <a:cubicBezTo>
                  <a:pt x="4529133" y="130750"/>
                  <a:pt x="4525316" y="132512"/>
                  <a:pt x="4521087" y="132512"/>
                </a:cubicBezTo>
                <a:cubicBezTo>
                  <a:pt x="4519442" y="132512"/>
                  <a:pt x="4517445" y="131924"/>
                  <a:pt x="4515095" y="130750"/>
                </a:cubicBezTo>
                <a:cubicBezTo>
                  <a:pt x="4513216" y="130045"/>
                  <a:pt x="4510631" y="128988"/>
                  <a:pt x="4507342" y="127578"/>
                </a:cubicBezTo>
                <a:cubicBezTo>
                  <a:pt x="4504052" y="126168"/>
                  <a:pt x="4501116" y="125346"/>
                  <a:pt x="4498531" y="125111"/>
                </a:cubicBezTo>
                <a:cubicBezTo>
                  <a:pt x="4492893" y="124641"/>
                  <a:pt x="4481380" y="125816"/>
                  <a:pt x="4463994" y="128635"/>
                </a:cubicBezTo>
                <a:cubicBezTo>
                  <a:pt x="4471277" y="130280"/>
                  <a:pt x="4478208" y="132159"/>
                  <a:pt x="4484787" y="134274"/>
                </a:cubicBezTo>
                <a:cubicBezTo>
                  <a:pt x="4491365" y="136389"/>
                  <a:pt x="4495359" y="138503"/>
                  <a:pt x="4496769" y="140618"/>
                </a:cubicBezTo>
                <a:cubicBezTo>
                  <a:pt x="4497709" y="141792"/>
                  <a:pt x="4497944" y="143143"/>
                  <a:pt x="4497474" y="144671"/>
                </a:cubicBezTo>
                <a:cubicBezTo>
                  <a:pt x="4497004" y="146198"/>
                  <a:pt x="4496182" y="147960"/>
                  <a:pt x="4495007" y="149957"/>
                </a:cubicBezTo>
                <a:cubicBezTo>
                  <a:pt x="4493832" y="151954"/>
                  <a:pt x="4493245" y="153187"/>
                  <a:pt x="4493245" y="153657"/>
                </a:cubicBezTo>
                <a:lnTo>
                  <a:pt x="4493597" y="170221"/>
                </a:lnTo>
                <a:cubicBezTo>
                  <a:pt x="4494067" y="187608"/>
                  <a:pt x="4494302" y="204054"/>
                  <a:pt x="4494302" y="219561"/>
                </a:cubicBezTo>
                <a:cubicBezTo>
                  <a:pt x="4494302" y="237417"/>
                  <a:pt x="4493950" y="249399"/>
                  <a:pt x="4493245" y="255508"/>
                </a:cubicBezTo>
                <a:cubicBezTo>
                  <a:pt x="4492070" y="268430"/>
                  <a:pt x="4480675" y="277006"/>
                  <a:pt x="4459060" y="281235"/>
                </a:cubicBezTo>
                <a:cubicBezTo>
                  <a:pt x="4459764" y="273247"/>
                  <a:pt x="4460117" y="260442"/>
                  <a:pt x="4460117" y="242821"/>
                </a:cubicBezTo>
                <a:cubicBezTo>
                  <a:pt x="4460117" y="224730"/>
                  <a:pt x="4459823" y="205934"/>
                  <a:pt x="4459236" y="186433"/>
                </a:cubicBezTo>
                <a:cubicBezTo>
                  <a:pt x="4458649" y="166932"/>
                  <a:pt x="4457885" y="153657"/>
                  <a:pt x="4456945" y="146609"/>
                </a:cubicBezTo>
                <a:cubicBezTo>
                  <a:pt x="4456945" y="145434"/>
                  <a:pt x="4455829" y="143320"/>
                  <a:pt x="4453597" y="140265"/>
                </a:cubicBezTo>
                <a:cubicBezTo>
                  <a:pt x="4451365" y="137211"/>
                  <a:pt x="4450249" y="135096"/>
                  <a:pt x="4450249" y="133922"/>
                </a:cubicBezTo>
                <a:lnTo>
                  <a:pt x="4450249" y="131455"/>
                </a:lnTo>
                <a:lnTo>
                  <a:pt x="4442496" y="132864"/>
                </a:lnTo>
                <a:cubicBezTo>
                  <a:pt x="4440146" y="154950"/>
                  <a:pt x="4436798" y="174509"/>
                  <a:pt x="4432451" y="191543"/>
                </a:cubicBezTo>
                <a:cubicBezTo>
                  <a:pt x="4428105" y="208577"/>
                  <a:pt x="4420586" y="223966"/>
                  <a:pt x="4409896" y="237711"/>
                </a:cubicBezTo>
                <a:cubicBezTo>
                  <a:pt x="4399206" y="251455"/>
                  <a:pt x="4384346" y="259855"/>
                  <a:pt x="4365315" y="262909"/>
                </a:cubicBezTo>
                <a:cubicBezTo>
                  <a:pt x="4369544" y="258915"/>
                  <a:pt x="4373538" y="253276"/>
                  <a:pt x="4377297" y="245993"/>
                </a:cubicBezTo>
                <a:lnTo>
                  <a:pt x="4373420" y="246345"/>
                </a:lnTo>
                <a:cubicBezTo>
                  <a:pt x="4371306" y="246345"/>
                  <a:pt x="4369191" y="245993"/>
                  <a:pt x="4367077" y="245288"/>
                </a:cubicBezTo>
                <a:cubicBezTo>
                  <a:pt x="4359323" y="242938"/>
                  <a:pt x="4352275" y="238944"/>
                  <a:pt x="4345931" y="233305"/>
                </a:cubicBezTo>
                <a:cubicBezTo>
                  <a:pt x="4354154" y="231191"/>
                  <a:pt x="4358384" y="229076"/>
                  <a:pt x="4358619" y="226962"/>
                </a:cubicBezTo>
                <a:cubicBezTo>
                  <a:pt x="4358854" y="225317"/>
                  <a:pt x="4358148" y="223555"/>
                  <a:pt x="4356504" y="221675"/>
                </a:cubicBezTo>
                <a:cubicBezTo>
                  <a:pt x="4354859" y="219796"/>
                  <a:pt x="4351923" y="217211"/>
                  <a:pt x="4347693" y="213922"/>
                </a:cubicBezTo>
                <a:cubicBezTo>
                  <a:pt x="4345344" y="212042"/>
                  <a:pt x="4343464" y="210398"/>
                  <a:pt x="4342055" y="208988"/>
                </a:cubicBezTo>
                <a:cubicBezTo>
                  <a:pt x="4342290" y="223555"/>
                  <a:pt x="4342407" y="243878"/>
                  <a:pt x="4342407" y="269958"/>
                </a:cubicBezTo>
                <a:lnTo>
                  <a:pt x="4342407" y="281588"/>
                </a:lnTo>
                <a:cubicBezTo>
                  <a:pt x="4342172" y="284877"/>
                  <a:pt x="4339294" y="288107"/>
                  <a:pt x="4333773" y="291279"/>
                </a:cubicBezTo>
                <a:cubicBezTo>
                  <a:pt x="4328251" y="294451"/>
                  <a:pt x="4321614" y="297212"/>
                  <a:pt x="4313860" y="299561"/>
                </a:cubicBezTo>
                <a:lnTo>
                  <a:pt x="4299411" y="264671"/>
                </a:lnTo>
                <a:lnTo>
                  <a:pt x="4302230" y="264671"/>
                </a:lnTo>
                <a:cubicBezTo>
                  <a:pt x="4306460" y="264671"/>
                  <a:pt x="4309161" y="263849"/>
                  <a:pt x="4310336" y="262204"/>
                </a:cubicBezTo>
                <a:cubicBezTo>
                  <a:pt x="4311041" y="260795"/>
                  <a:pt x="4311394" y="252924"/>
                  <a:pt x="4311394" y="238592"/>
                </a:cubicBezTo>
                <a:cubicBezTo>
                  <a:pt x="4311394" y="218856"/>
                  <a:pt x="4311041" y="201235"/>
                  <a:pt x="4310336" y="185728"/>
                </a:cubicBezTo>
                <a:lnTo>
                  <a:pt x="4295887" y="189957"/>
                </a:lnTo>
                <a:cubicBezTo>
                  <a:pt x="4284140" y="193481"/>
                  <a:pt x="4274506" y="196183"/>
                  <a:pt x="4266988" y="198063"/>
                </a:cubicBezTo>
                <a:cubicBezTo>
                  <a:pt x="4265344" y="198533"/>
                  <a:pt x="4263229" y="198768"/>
                  <a:pt x="4260644" y="198768"/>
                </a:cubicBezTo>
                <a:cubicBezTo>
                  <a:pt x="4258295" y="198768"/>
                  <a:pt x="4256356" y="198239"/>
                  <a:pt x="4254829" y="197182"/>
                </a:cubicBezTo>
                <a:cubicBezTo>
                  <a:pt x="4253302" y="196125"/>
                  <a:pt x="4251364" y="194186"/>
                  <a:pt x="4249014" y="191367"/>
                </a:cubicBezTo>
                <a:cubicBezTo>
                  <a:pt x="4249014" y="191367"/>
                  <a:pt x="4247252" y="189605"/>
                  <a:pt x="4243728" y="186080"/>
                </a:cubicBezTo>
                <a:cubicBezTo>
                  <a:pt x="4239969" y="182321"/>
                  <a:pt x="4238089" y="179384"/>
                  <a:pt x="4238089" y="177270"/>
                </a:cubicBezTo>
                <a:cubicBezTo>
                  <a:pt x="4238089" y="175390"/>
                  <a:pt x="4239616" y="174215"/>
                  <a:pt x="4242671" y="173746"/>
                </a:cubicBezTo>
                <a:cubicBezTo>
                  <a:pt x="4243846" y="174920"/>
                  <a:pt x="4250718" y="174157"/>
                  <a:pt x="4263287" y="171455"/>
                </a:cubicBezTo>
                <a:cubicBezTo>
                  <a:pt x="4275858" y="168753"/>
                  <a:pt x="4290365" y="165287"/>
                  <a:pt x="4306812" y="161058"/>
                </a:cubicBezTo>
                <a:cubicBezTo>
                  <a:pt x="4305637" y="158944"/>
                  <a:pt x="4304110" y="156477"/>
                  <a:pt x="4302230" y="153657"/>
                </a:cubicBezTo>
                <a:cubicBezTo>
                  <a:pt x="4276856" y="159766"/>
                  <a:pt x="4261701" y="162820"/>
                  <a:pt x="4256768" y="162820"/>
                </a:cubicBezTo>
                <a:cubicBezTo>
                  <a:pt x="4250894" y="162820"/>
                  <a:pt x="4244433" y="160471"/>
                  <a:pt x="4237384" y="155772"/>
                </a:cubicBezTo>
                <a:cubicBezTo>
                  <a:pt x="4230336" y="151073"/>
                  <a:pt x="4225050" y="145199"/>
                  <a:pt x="4221525" y="138151"/>
                </a:cubicBezTo>
                <a:lnTo>
                  <a:pt x="4221525" y="137446"/>
                </a:lnTo>
                <a:cubicBezTo>
                  <a:pt x="4221525" y="136506"/>
                  <a:pt x="4222465" y="136036"/>
                  <a:pt x="4224344" y="136036"/>
                </a:cubicBezTo>
                <a:cubicBezTo>
                  <a:pt x="4225989" y="136036"/>
                  <a:pt x="4227634" y="136389"/>
                  <a:pt x="4229278" y="137093"/>
                </a:cubicBezTo>
                <a:cubicBezTo>
                  <a:pt x="4229513" y="137328"/>
                  <a:pt x="4230806" y="137974"/>
                  <a:pt x="4233155" y="139032"/>
                </a:cubicBezTo>
                <a:cubicBezTo>
                  <a:pt x="4235505" y="140089"/>
                  <a:pt x="4239264" y="140618"/>
                  <a:pt x="4244433" y="140618"/>
                </a:cubicBezTo>
                <a:cubicBezTo>
                  <a:pt x="4249602" y="140618"/>
                  <a:pt x="4259235" y="139090"/>
                  <a:pt x="4273332" y="136036"/>
                </a:cubicBezTo>
                <a:cubicBezTo>
                  <a:pt x="4269807" y="129692"/>
                  <a:pt x="4268045" y="123584"/>
                  <a:pt x="4268045" y="117710"/>
                </a:cubicBezTo>
                <a:cubicBezTo>
                  <a:pt x="4268045" y="116065"/>
                  <a:pt x="4268163" y="114891"/>
                  <a:pt x="4268398" y="114186"/>
                </a:cubicBezTo>
                <a:cubicBezTo>
                  <a:pt x="4270278" y="104553"/>
                  <a:pt x="4271804" y="97622"/>
                  <a:pt x="4272979" y="93393"/>
                </a:cubicBezTo>
                <a:cubicBezTo>
                  <a:pt x="4267106" y="94567"/>
                  <a:pt x="4262876" y="95155"/>
                  <a:pt x="4260292" y="95155"/>
                </a:cubicBezTo>
                <a:cubicBezTo>
                  <a:pt x="4255358" y="95155"/>
                  <a:pt x="4250307" y="92512"/>
                  <a:pt x="4245138" y="87225"/>
                </a:cubicBezTo>
                <a:cubicBezTo>
                  <a:pt x="4239969" y="81939"/>
                  <a:pt x="4235740" y="75536"/>
                  <a:pt x="4232450" y="68018"/>
                </a:cubicBezTo>
                <a:lnTo>
                  <a:pt x="4232450" y="67313"/>
                </a:lnTo>
                <a:cubicBezTo>
                  <a:pt x="4232450" y="66373"/>
                  <a:pt x="4233155" y="65727"/>
                  <a:pt x="4234565" y="65375"/>
                </a:cubicBezTo>
                <a:cubicBezTo>
                  <a:pt x="4235974" y="65022"/>
                  <a:pt x="4237384" y="65081"/>
                  <a:pt x="4238794" y="65551"/>
                </a:cubicBezTo>
                <a:cubicBezTo>
                  <a:pt x="4239264" y="65786"/>
                  <a:pt x="4240908" y="66491"/>
                  <a:pt x="4243728" y="67666"/>
                </a:cubicBezTo>
                <a:cubicBezTo>
                  <a:pt x="4246548" y="68840"/>
                  <a:pt x="4250659" y="69428"/>
                  <a:pt x="4256063" y="69428"/>
                </a:cubicBezTo>
                <a:cubicBezTo>
                  <a:pt x="4264286" y="69428"/>
                  <a:pt x="4277561" y="66373"/>
                  <a:pt x="4295887" y="60265"/>
                </a:cubicBezTo>
                <a:cubicBezTo>
                  <a:pt x="4298941" y="55331"/>
                  <a:pt x="4301643" y="50221"/>
                  <a:pt x="4303992" y="44934"/>
                </a:cubicBezTo>
                <a:cubicBezTo>
                  <a:pt x="4306342" y="39648"/>
                  <a:pt x="4307517" y="35360"/>
                  <a:pt x="4307517" y="32071"/>
                </a:cubicBezTo>
                <a:cubicBezTo>
                  <a:pt x="4307517" y="29251"/>
                  <a:pt x="4306577" y="27489"/>
                  <a:pt x="4304698" y="26784"/>
                </a:cubicBezTo>
                <a:cubicBezTo>
                  <a:pt x="4300703" y="24905"/>
                  <a:pt x="4297649" y="22320"/>
                  <a:pt x="4295534" y="19031"/>
                </a:cubicBezTo>
                <a:cubicBezTo>
                  <a:pt x="4294595" y="18091"/>
                  <a:pt x="4293655" y="16035"/>
                  <a:pt x="4292715" y="12864"/>
                </a:cubicBezTo>
                <a:cubicBezTo>
                  <a:pt x="4291775" y="9692"/>
                  <a:pt x="4291188" y="7753"/>
                  <a:pt x="4290953" y="7049"/>
                </a:cubicBezTo>
                <a:close/>
                <a:moveTo>
                  <a:pt x="1492565" y="6344"/>
                </a:moveTo>
                <a:cubicBezTo>
                  <a:pt x="1503843" y="6344"/>
                  <a:pt x="1514650" y="10925"/>
                  <a:pt x="1524988" y="20088"/>
                </a:cubicBezTo>
                <a:cubicBezTo>
                  <a:pt x="1527808" y="22438"/>
                  <a:pt x="1529217" y="25610"/>
                  <a:pt x="1529217" y="29604"/>
                </a:cubicBezTo>
                <a:cubicBezTo>
                  <a:pt x="1529217" y="34303"/>
                  <a:pt x="1527279" y="38591"/>
                  <a:pt x="1523402" y="42467"/>
                </a:cubicBezTo>
                <a:cubicBezTo>
                  <a:pt x="1519526" y="46344"/>
                  <a:pt x="1515238" y="47812"/>
                  <a:pt x="1510539" y="46873"/>
                </a:cubicBezTo>
                <a:cubicBezTo>
                  <a:pt x="1507954" y="46873"/>
                  <a:pt x="1505252" y="46285"/>
                  <a:pt x="1502433" y="45110"/>
                </a:cubicBezTo>
                <a:cubicBezTo>
                  <a:pt x="1499614" y="43936"/>
                  <a:pt x="1497969" y="43231"/>
                  <a:pt x="1497499" y="42996"/>
                </a:cubicBezTo>
                <a:cubicBezTo>
                  <a:pt x="1492330" y="40646"/>
                  <a:pt x="1488571" y="39707"/>
                  <a:pt x="1486221" y="40177"/>
                </a:cubicBezTo>
                <a:cubicBezTo>
                  <a:pt x="1465311" y="42526"/>
                  <a:pt x="1439290" y="45992"/>
                  <a:pt x="1408159" y="50573"/>
                </a:cubicBezTo>
                <a:cubicBezTo>
                  <a:pt x="1377028" y="55155"/>
                  <a:pt x="1354767" y="59207"/>
                  <a:pt x="1341375" y="62732"/>
                </a:cubicBezTo>
                <a:cubicBezTo>
                  <a:pt x="1339260" y="63202"/>
                  <a:pt x="1334561" y="61205"/>
                  <a:pt x="1327278" y="56740"/>
                </a:cubicBezTo>
                <a:cubicBezTo>
                  <a:pt x="1319994" y="52276"/>
                  <a:pt x="1313768" y="47460"/>
                  <a:pt x="1308599" y="42291"/>
                </a:cubicBezTo>
                <a:cubicBezTo>
                  <a:pt x="1303430" y="37122"/>
                  <a:pt x="1301903" y="33480"/>
                  <a:pt x="1304018" y="31366"/>
                </a:cubicBezTo>
                <a:cubicBezTo>
                  <a:pt x="1313181" y="32071"/>
                  <a:pt x="1319407" y="32423"/>
                  <a:pt x="1322696" y="32423"/>
                </a:cubicBezTo>
                <a:cubicBezTo>
                  <a:pt x="1326220" y="32423"/>
                  <a:pt x="1328570" y="32306"/>
                  <a:pt x="1329745" y="32071"/>
                </a:cubicBezTo>
                <a:cubicBezTo>
                  <a:pt x="1338908" y="31131"/>
                  <a:pt x="1379437" y="24670"/>
                  <a:pt x="1451331" y="12687"/>
                </a:cubicBezTo>
                <a:lnTo>
                  <a:pt x="1485516" y="7049"/>
                </a:lnTo>
                <a:cubicBezTo>
                  <a:pt x="1488806" y="6579"/>
                  <a:pt x="1491155" y="6344"/>
                  <a:pt x="1492565" y="6344"/>
                </a:cubicBezTo>
                <a:close/>
                <a:moveTo>
                  <a:pt x="1871498" y="352"/>
                </a:moveTo>
                <a:cubicBezTo>
                  <a:pt x="1873848" y="4817"/>
                  <a:pt x="1877724" y="8106"/>
                  <a:pt x="1883128" y="10220"/>
                </a:cubicBezTo>
                <a:cubicBezTo>
                  <a:pt x="1887592" y="11865"/>
                  <a:pt x="1892174" y="12687"/>
                  <a:pt x="1896872" y="12687"/>
                </a:cubicBezTo>
                <a:cubicBezTo>
                  <a:pt x="1898518" y="12687"/>
                  <a:pt x="1900162" y="12335"/>
                  <a:pt x="1901806" y="11630"/>
                </a:cubicBezTo>
                <a:cubicBezTo>
                  <a:pt x="1903451" y="10925"/>
                  <a:pt x="1904744" y="10573"/>
                  <a:pt x="1905684" y="10573"/>
                </a:cubicBezTo>
                <a:cubicBezTo>
                  <a:pt x="1906388" y="10573"/>
                  <a:pt x="1907446" y="10808"/>
                  <a:pt x="1908855" y="11278"/>
                </a:cubicBezTo>
                <a:cubicBezTo>
                  <a:pt x="1911909" y="11983"/>
                  <a:pt x="1915493" y="14038"/>
                  <a:pt x="1919604" y="17445"/>
                </a:cubicBezTo>
                <a:cubicBezTo>
                  <a:pt x="1923716" y="20852"/>
                  <a:pt x="1925889" y="24200"/>
                  <a:pt x="1926124" y="27489"/>
                </a:cubicBezTo>
                <a:cubicBezTo>
                  <a:pt x="1926594" y="30544"/>
                  <a:pt x="1926124" y="33715"/>
                  <a:pt x="1924714" y="37005"/>
                </a:cubicBezTo>
                <a:cubicBezTo>
                  <a:pt x="1923305" y="40294"/>
                  <a:pt x="1921190" y="42878"/>
                  <a:pt x="1918371" y="44758"/>
                </a:cubicBezTo>
                <a:cubicBezTo>
                  <a:pt x="1917196" y="45698"/>
                  <a:pt x="1913202" y="48987"/>
                  <a:pt x="1906388" y="54626"/>
                </a:cubicBezTo>
                <a:cubicBezTo>
                  <a:pt x="1899575" y="60735"/>
                  <a:pt x="1896520" y="63437"/>
                  <a:pt x="1897225" y="62732"/>
                </a:cubicBezTo>
                <a:cubicBezTo>
                  <a:pt x="1914142" y="57563"/>
                  <a:pt x="1923774" y="53921"/>
                  <a:pt x="1926124" y="51807"/>
                </a:cubicBezTo>
                <a:cubicBezTo>
                  <a:pt x="1929648" y="48752"/>
                  <a:pt x="1932703" y="47049"/>
                  <a:pt x="1935287" y="46696"/>
                </a:cubicBezTo>
                <a:cubicBezTo>
                  <a:pt x="1937872" y="46344"/>
                  <a:pt x="1939399" y="46050"/>
                  <a:pt x="1939869" y="45815"/>
                </a:cubicBezTo>
                <a:cubicBezTo>
                  <a:pt x="1941279" y="44875"/>
                  <a:pt x="1944274" y="45992"/>
                  <a:pt x="1948855" y="49163"/>
                </a:cubicBezTo>
                <a:cubicBezTo>
                  <a:pt x="1953437" y="52335"/>
                  <a:pt x="1958195" y="56506"/>
                  <a:pt x="1963129" y="61674"/>
                </a:cubicBezTo>
                <a:cubicBezTo>
                  <a:pt x="1968063" y="66843"/>
                  <a:pt x="1971705" y="71660"/>
                  <a:pt x="1974054" y="76124"/>
                </a:cubicBezTo>
                <a:cubicBezTo>
                  <a:pt x="1977108" y="81528"/>
                  <a:pt x="1978636" y="85639"/>
                  <a:pt x="1978636" y="88459"/>
                </a:cubicBezTo>
                <a:cubicBezTo>
                  <a:pt x="1978636" y="90338"/>
                  <a:pt x="1978048" y="91278"/>
                  <a:pt x="1976873" y="91278"/>
                </a:cubicBezTo>
                <a:cubicBezTo>
                  <a:pt x="1971705" y="93863"/>
                  <a:pt x="1968533" y="95507"/>
                  <a:pt x="1967358" y="96212"/>
                </a:cubicBezTo>
                <a:cubicBezTo>
                  <a:pt x="1955845" y="102086"/>
                  <a:pt x="1945860" y="106550"/>
                  <a:pt x="1937401" y="109604"/>
                </a:cubicBezTo>
                <a:cubicBezTo>
                  <a:pt x="1928943" y="112659"/>
                  <a:pt x="1920368" y="114068"/>
                  <a:pt x="1911674" y="113833"/>
                </a:cubicBezTo>
                <a:cubicBezTo>
                  <a:pt x="1919193" y="100441"/>
                  <a:pt x="1922835" y="92453"/>
                  <a:pt x="1922600" y="89868"/>
                </a:cubicBezTo>
                <a:cubicBezTo>
                  <a:pt x="1922365" y="89164"/>
                  <a:pt x="1901572" y="92864"/>
                  <a:pt x="1860221" y="100970"/>
                </a:cubicBezTo>
                <a:cubicBezTo>
                  <a:pt x="1818869" y="109076"/>
                  <a:pt x="1795609" y="113833"/>
                  <a:pt x="1790441" y="115243"/>
                </a:cubicBezTo>
                <a:lnTo>
                  <a:pt x="1786564" y="115595"/>
                </a:lnTo>
                <a:cubicBezTo>
                  <a:pt x="1783039" y="115595"/>
                  <a:pt x="1779867" y="115008"/>
                  <a:pt x="1777048" y="113833"/>
                </a:cubicBezTo>
                <a:cubicBezTo>
                  <a:pt x="1774229" y="112659"/>
                  <a:pt x="1771997" y="110896"/>
                  <a:pt x="1770352" y="108547"/>
                </a:cubicBezTo>
                <a:cubicBezTo>
                  <a:pt x="1768708" y="105962"/>
                  <a:pt x="1767063" y="102380"/>
                  <a:pt x="1765418" y="97798"/>
                </a:cubicBezTo>
                <a:cubicBezTo>
                  <a:pt x="1763774" y="93216"/>
                  <a:pt x="1762599" y="89399"/>
                  <a:pt x="1761894" y="86344"/>
                </a:cubicBezTo>
                <a:cubicBezTo>
                  <a:pt x="1770822" y="88929"/>
                  <a:pt x="1780103" y="89868"/>
                  <a:pt x="1789735" y="89164"/>
                </a:cubicBezTo>
                <a:cubicBezTo>
                  <a:pt x="1798194" y="88459"/>
                  <a:pt x="1819692" y="83642"/>
                  <a:pt x="1854229" y="74714"/>
                </a:cubicBezTo>
                <a:cubicBezTo>
                  <a:pt x="1861278" y="66491"/>
                  <a:pt x="1866917" y="58268"/>
                  <a:pt x="1871146" y="50044"/>
                </a:cubicBezTo>
                <a:cubicBezTo>
                  <a:pt x="1875375" y="41821"/>
                  <a:pt x="1876902" y="36652"/>
                  <a:pt x="1875727" y="34538"/>
                </a:cubicBezTo>
                <a:cubicBezTo>
                  <a:pt x="1874552" y="32658"/>
                  <a:pt x="1873965" y="30544"/>
                  <a:pt x="1873965" y="28194"/>
                </a:cubicBezTo>
                <a:cubicBezTo>
                  <a:pt x="1873965" y="26784"/>
                  <a:pt x="1874141" y="24905"/>
                  <a:pt x="1874494" y="22555"/>
                </a:cubicBezTo>
                <a:cubicBezTo>
                  <a:pt x="1874846" y="20206"/>
                  <a:pt x="1875023" y="18796"/>
                  <a:pt x="1875023" y="18326"/>
                </a:cubicBezTo>
                <a:cubicBezTo>
                  <a:pt x="1874317" y="16916"/>
                  <a:pt x="1873613" y="13803"/>
                  <a:pt x="1872908" y="8987"/>
                </a:cubicBezTo>
                <a:cubicBezTo>
                  <a:pt x="1872203" y="4170"/>
                  <a:pt x="1871733" y="1292"/>
                  <a:pt x="1871498" y="352"/>
                </a:cubicBezTo>
                <a:close/>
                <a:moveTo>
                  <a:pt x="3869729" y="0"/>
                </a:moveTo>
                <a:cubicBezTo>
                  <a:pt x="3869494" y="2819"/>
                  <a:pt x="3870022" y="5521"/>
                  <a:pt x="3871315" y="8106"/>
                </a:cubicBezTo>
                <a:cubicBezTo>
                  <a:pt x="3872607" y="10690"/>
                  <a:pt x="3874663" y="12570"/>
                  <a:pt x="3877482" y="13745"/>
                </a:cubicBezTo>
                <a:cubicBezTo>
                  <a:pt x="3882886" y="16094"/>
                  <a:pt x="3890875" y="18444"/>
                  <a:pt x="3901447" y="20793"/>
                </a:cubicBezTo>
                <a:cubicBezTo>
                  <a:pt x="3905676" y="23847"/>
                  <a:pt x="3909200" y="27137"/>
                  <a:pt x="3912020" y="30661"/>
                </a:cubicBezTo>
                <a:cubicBezTo>
                  <a:pt x="3914839" y="34185"/>
                  <a:pt x="3916249" y="37357"/>
                  <a:pt x="3916249" y="40177"/>
                </a:cubicBezTo>
                <a:cubicBezTo>
                  <a:pt x="3916249" y="41586"/>
                  <a:pt x="3915838" y="42820"/>
                  <a:pt x="3915016" y="43877"/>
                </a:cubicBezTo>
                <a:cubicBezTo>
                  <a:pt x="3914193" y="44934"/>
                  <a:pt x="3913312" y="45933"/>
                  <a:pt x="3912372" y="46873"/>
                </a:cubicBezTo>
                <a:cubicBezTo>
                  <a:pt x="3910023" y="48752"/>
                  <a:pt x="3908378" y="50984"/>
                  <a:pt x="3907438" y="53569"/>
                </a:cubicBezTo>
                <a:cubicBezTo>
                  <a:pt x="3912607" y="54978"/>
                  <a:pt x="3917894" y="55918"/>
                  <a:pt x="3923298" y="56388"/>
                </a:cubicBezTo>
                <a:cubicBezTo>
                  <a:pt x="3928701" y="56858"/>
                  <a:pt x="3932108" y="57093"/>
                  <a:pt x="3933518" y="57093"/>
                </a:cubicBezTo>
                <a:cubicBezTo>
                  <a:pt x="3942681" y="57798"/>
                  <a:pt x="3949788" y="58796"/>
                  <a:pt x="3954839" y="60089"/>
                </a:cubicBezTo>
                <a:cubicBezTo>
                  <a:pt x="3959891" y="61381"/>
                  <a:pt x="3964179" y="64141"/>
                  <a:pt x="3967703" y="68370"/>
                </a:cubicBezTo>
                <a:cubicBezTo>
                  <a:pt x="3971697" y="72835"/>
                  <a:pt x="3974986" y="78238"/>
                  <a:pt x="3977571" y="84582"/>
                </a:cubicBezTo>
                <a:cubicBezTo>
                  <a:pt x="3980155" y="90926"/>
                  <a:pt x="3981448" y="96330"/>
                  <a:pt x="3981448" y="100794"/>
                </a:cubicBezTo>
                <a:cubicBezTo>
                  <a:pt x="3981448" y="103378"/>
                  <a:pt x="3980860" y="105258"/>
                  <a:pt x="3979685" y="106432"/>
                </a:cubicBezTo>
                <a:cubicBezTo>
                  <a:pt x="3976631" y="109487"/>
                  <a:pt x="3972285" y="111014"/>
                  <a:pt x="3966646" y="111014"/>
                </a:cubicBezTo>
                <a:cubicBezTo>
                  <a:pt x="3959127" y="111014"/>
                  <a:pt x="3943269" y="107137"/>
                  <a:pt x="3919068" y="99384"/>
                </a:cubicBezTo>
                <a:cubicBezTo>
                  <a:pt x="3924237" y="98679"/>
                  <a:pt x="3928701" y="97681"/>
                  <a:pt x="3932460" y="96388"/>
                </a:cubicBezTo>
                <a:cubicBezTo>
                  <a:pt x="3936220" y="95096"/>
                  <a:pt x="3938099" y="93745"/>
                  <a:pt x="3938099" y="92335"/>
                </a:cubicBezTo>
                <a:cubicBezTo>
                  <a:pt x="3938099" y="91396"/>
                  <a:pt x="3937512" y="90515"/>
                  <a:pt x="3936337" y="89692"/>
                </a:cubicBezTo>
                <a:cubicBezTo>
                  <a:pt x="3935163" y="88870"/>
                  <a:pt x="3933635" y="88106"/>
                  <a:pt x="3931756" y="87401"/>
                </a:cubicBezTo>
                <a:cubicBezTo>
                  <a:pt x="3926822" y="85287"/>
                  <a:pt x="3922475" y="82820"/>
                  <a:pt x="3918716" y="80001"/>
                </a:cubicBezTo>
                <a:cubicBezTo>
                  <a:pt x="3914722" y="77416"/>
                  <a:pt x="3909200" y="72952"/>
                  <a:pt x="3902152" y="66608"/>
                </a:cubicBezTo>
                <a:cubicBezTo>
                  <a:pt x="3892284" y="87754"/>
                  <a:pt x="3878304" y="108429"/>
                  <a:pt x="3860214" y="128635"/>
                </a:cubicBezTo>
                <a:cubicBezTo>
                  <a:pt x="3876190" y="122526"/>
                  <a:pt x="3890522" y="116418"/>
                  <a:pt x="3903209" y="110309"/>
                </a:cubicBezTo>
                <a:cubicBezTo>
                  <a:pt x="3905324" y="109369"/>
                  <a:pt x="3907791" y="107960"/>
                  <a:pt x="3910610" y="106080"/>
                </a:cubicBezTo>
                <a:cubicBezTo>
                  <a:pt x="3911080" y="105845"/>
                  <a:pt x="3912255" y="105140"/>
                  <a:pt x="3914134" y="103965"/>
                </a:cubicBezTo>
                <a:cubicBezTo>
                  <a:pt x="3916014" y="102791"/>
                  <a:pt x="3918011" y="102203"/>
                  <a:pt x="3920126" y="102203"/>
                </a:cubicBezTo>
                <a:cubicBezTo>
                  <a:pt x="3923650" y="102203"/>
                  <a:pt x="3928936" y="104435"/>
                  <a:pt x="3935985" y="108899"/>
                </a:cubicBezTo>
                <a:cubicBezTo>
                  <a:pt x="3942328" y="112894"/>
                  <a:pt x="3947497" y="117299"/>
                  <a:pt x="3951491" y="122115"/>
                </a:cubicBezTo>
                <a:cubicBezTo>
                  <a:pt x="3955486" y="126932"/>
                  <a:pt x="3958187" y="131396"/>
                  <a:pt x="3959597" y="135507"/>
                </a:cubicBezTo>
                <a:cubicBezTo>
                  <a:pt x="3961007" y="139619"/>
                  <a:pt x="3961242" y="142497"/>
                  <a:pt x="3960302" y="144142"/>
                </a:cubicBezTo>
                <a:cubicBezTo>
                  <a:pt x="3956543" y="151425"/>
                  <a:pt x="3953136" y="164935"/>
                  <a:pt x="3950082" y="184671"/>
                </a:cubicBezTo>
                <a:lnTo>
                  <a:pt x="3947615" y="198415"/>
                </a:lnTo>
                <a:cubicBezTo>
                  <a:pt x="3945031" y="209928"/>
                  <a:pt x="3940743" y="217916"/>
                  <a:pt x="3934752" y="222380"/>
                </a:cubicBezTo>
                <a:cubicBezTo>
                  <a:pt x="3928760" y="226844"/>
                  <a:pt x="3922240" y="229076"/>
                  <a:pt x="3915192" y="229076"/>
                </a:cubicBezTo>
                <a:cubicBezTo>
                  <a:pt x="3910258" y="229076"/>
                  <a:pt x="3906851" y="228606"/>
                  <a:pt x="3904971" y="227667"/>
                </a:cubicBezTo>
                <a:cubicBezTo>
                  <a:pt x="3902152" y="226257"/>
                  <a:pt x="3892284" y="212512"/>
                  <a:pt x="3875367" y="186433"/>
                </a:cubicBezTo>
                <a:cubicBezTo>
                  <a:pt x="3885001" y="186198"/>
                  <a:pt x="3893283" y="185552"/>
                  <a:pt x="3900214" y="184495"/>
                </a:cubicBezTo>
                <a:cubicBezTo>
                  <a:pt x="3907145" y="183437"/>
                  <a:pt x="3910962" y="181969"/>
                  <a:pt x="3911668" y="180089"/>
                </a:cubicBezTo>
                <a:cubicBezTo>
                  <a:pt x="3916367" y="170221"/>
                  <a:pt x="3919186" y="159179"/>
                  <a:pt x="3920126" y="146961"/>
                </a:cubicBezTo>
                <a:lnTo>
                  <a:pt x="3920478" y="143085"/>
                </a:lnTo>
                <a:cubicBezTo>
                  <a:pt x="3920478" y="140500"/>
                  <a:pt x="3920008" y="138679"/>
                  <a:pt x="3919068" y="137622"/>
                </a:cubicBezTo>
                <a:cubicBezTo>
                  <a:pt x="3918129" y="136565"/>
                  <a:pt x="3916719" y="136036"/>
                  <a:pt x="3914839" y="136036"/>
                </a:cubicBezTo>
                <a:cubicBezTo>
                  <a:pt x="3913899" y="136036"/>
                  <a:pt x="3911080" y="136506"/>
                  <a:pt x="3906381" y="137446"/>
                </a:cubicBezTo>
                <a:cubicBezTo>
                  <a:pt x="3904971" y="137681"/>
                  <a:pt x="3903327" y="137974"/>
                  <a:pt x="3901447" y="138327"/>
                </a:cubicBezTo>
                <a:cubicBezTo>
                  <a:pt x="3899568" y="138679"/>
                  <a:pt x="3897335" y="138973"/>
                  <a:pt x="3894751" y="139208"/>
                </a:cubicBezTo>
                <a:cubicBezTo>
                  <a:pt x="3888172" y="139913"/>
                  <a:pt x="3881829" y="141440"/>
                  <a:pt x="3875720" y="143789"/>
                </a:cubicBezTo>
                <a:cubicBezTo>
                  <a:pt x="3877130" y="144729"/>
                  <a:pt x="3877835" y="147431"/>
                  <a:pt x="3877835" y="151895"/>
                </a:cubicBezTo>
                <a:cubicBezTo>
                  <a:pt x="3874780" y="154245"/>
                  <a:pt x="3873136" y="156594"/>
                  <a:pt x="3872901" y="158944"/>
                </a:cubicBezTo>
                <a:cubicBezTo>
                  <a:pt x="3872196" y="163878"/>
                  <a:pt x="3871256" y="173041"/>
                  <a:pt x="3870081" y="186433"/>
                </a:cubicBezTo>
                <a:cubicBezTo>
                  <a:pt x="3868907" y="199825"/>
                  <a:pt x="3868319" y="212160"/>
                  <a:pt x="3868319" y="223438"/>
                </a:cubicBezTo>
                <a:cubicBezTo>
                  <a:pt x="3868319" y="239414"/>
                  <a:pt x="3869846" y="249047"/>
                  <a:pt x="3872901" y="252336"/>
                </a:cubicBezTo>
                <a:cubicBezTo>
                  <a:pt x="3875720" y="255391"/>
                  <a:pt x="3882651" y="256918"/>
                  <a:pt x="3893694" y="256918"/>
                </a:cubicBezTo>
                <a:cubicBezTo>
                  <a:pt x="3905911" y="256918"/>
                  <a:pt x="3919068" y="255097"/>
                  <a:pt x="3933166" y="251455"/>
                </a:cubicBezTo>
                <a:cubicBezTo>
                  <a:pt x="3947262" y="247814"/>
                  <a:pt x="3957013" y="243291"/>
                  <a:pt x="3962417" y="237887"/>
                </a:cubicBezTo>
                <a:cubicBezTo>
                  <a:pt x="3964766" y="235772"/>
                  <a:pt x="3965706" y="226962"/>
                  <a:pt x="3965236" y="211455"/>
                </a:cubicBezTo>
                <a:cubicBezTo>
                  <a:pt x="3966646" y="214509"/>
                  <a:pt x="3970992" y="220266"/>
                  <a:pt x="3978276" y="228724"/>
                </a:cubicBezTo>
                <a:cubicBezTo>
                  <a:pt x="3982270" y="233423"/>
                  <a:pt x="3986264" y="238357"/>
                  <a:pt x="3990258" y="243526"/>
                </a:cubicBezTo>
                <a:cubicBezTo>
                  <a:pt x="3990963" y="244466"/>
                  <a:pt x="3992491" y="246345"/>
                  <a:pt x="3994840" y="249165"/>
                </a:cubicBezTo>
                <a:cubicBezTo>
                  <a:pt x="3997189" y="251984"/>
                  <a:pt x="3998951" y="253746"/>
                  <a:pt x="4000126" y="254451"/>
                </a:cubicBezTo>
                <a:cubicBezTo>
                  <a:pt x="4001536" y="255156"/>
                  <a:pt x="4000772" y="258093"/>
                  <a:pt x="3997836" y="263262"/>
                </a:cubicBezTo>
                <a:cubicBezTo>
                  <a:pt x="3994898" y="268430"/>
                  <a:pt x="3990846" y="274422"/>
                  <a:pt x="3985677" y="281235"/>
                </a:cubicBezTo>
                <a:cubicBezTo>
                  <a:pt x="3976983" y="285229"/>
                  <a:pt x="3966293" y="288166"/>
                  <a:pt x="3953606" y="290046"/>
                </a:cubicBezTo>
                <a:cubicBezTo>
                  <a:pt x="3944678" y="291221"/>
                  <a:pt x="3935045" y="291808"/>
                  <a:pt x="3924707" y="291808"/>
                </a:cubicBezTo>
                <a:cubicBezTo>
                  <a:pt x="3912960" y="291808"/>
                  <a:pt x="3901154" y="291162"/>
                  <a:pt x="3889289" y="289870"/>
                </a:cubicBezTo>
                <a:cubicBezTo>
                  <a:pt x="3877424" y="288577"/>
                  <a:pt x="3867849" y="286874"/>
                  <a:pt x="3860566" y="284759"/>
                </a:cubicBezTo>
                <a:cubicBezTo>
                  <a:pt x="3845529" y="280060"/>
                  <a:pt x="3837658" y="271602"/>
                  <a:pt x="3836953" y="259385"/>
                </a:cubicBezTo>
                <a:lnTo>
                  <a:pt x="3836601" y="247402"/>
                </a:lnTo>
                <a:cubicBezTo>
                  <a:pt x="3836601" y="233775"/>
                  <a:pt x="3836953" y="214568"/>
                  <a:pt x="3837658" y="189781"/>
                </a:cubicBezTo>
                <a:cubicBezTo>
                  <a:pt x="3838363" y="164994"/>
                  <a:pt x="3838950" y="151190"/>
                  <a:pt x="3839420" y="148371"/>
                </a:cubicBezTo>
                <a:cubicBezTo>
                  <a:pt x="3830727" y="155889"/>
                  <a:pt x="3822034" y="162174"/>
                  <a:pt x="3813341" y="167226"/>
                </a:cubicBezTo>
                <a:cubicBezTo>
                  <a:pt x="3804648" y="172277"/>
                  <a:pt x="3796894" y="175743"/>
                  <a:pt x="3790081" y="177622"/>
                </a:cubicBezTo>
                <a:cubicBezTo>
                  <a:pt x="3797599" y="169164"/>
                  <a:pt x="3809346" y="151719"/>
                  <a:pt x="3825323" y="125287"/>
                </a:cubicBezTo>
                <a:cubicBezTo>
                  <a:pt x="3841300" y="98855"/>
                  <a:pt x="3853635" y="75771"/>
                  <a:pt x="3862328" y="56036"/>
                </a:cubicBezTo>
                <a:cubicBezTo>
                  <a:pt x="3866322" y="46873"/>
                  <a:pt x="3868319" y="39942"/>
                  <a:pt x="3868319" y="35243"/>
                </a:cubicBezTo>
                <a:cubicBezTo>
                  <a:pt x="3868319" y="32658"/>
                  <a:pt x="3867849" y="30778"/>
                  <a:pt x="3866909" y="29604"/>
                </a:cubicBezTo>
                <a:cubicBezTo>
                  <a:pt x="3865970" y="28429"/>
                  <a:pt x="3865383" y="27724"/>
                  <a:pt x="3865147" y="27489"/>
                </a:cubicBezTo>
                <a:cubicBezTo>
                  <a:pt x="3863033" y="24670"/>
                  <a:pt x="3861976" y="22673"/>
                  <a:pt x="3861976" y="21498"/>
                </a:cubicBezTo>
                <a:cubicBezTo>
                  <a:pt x="3861976" y="20088"/>
                  <a:pt x="3862093" y="18914"/>
                  <a:pt x="3862328" y="17974"/>
                </a:cubicBezTo>
                <a:cubicBezTo>
                  <a:pt x="3864208" y="8811"/>
                  <a:pt x="3866674" y="2819"/>
                  <a:pt x="3869729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spc="600" dirty="0">
                <a:solidFill>
                  <a:schemeClr val="tx2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2800" dirty="0">
              <a:solidFill>
                <a:schemeClr val="tx2">
                  <a:lumMod val="60000"/>
                  <a:lumOff val="40000"/>
                </a:schemeClr>
              </a:solidFill>
              <a:latin typeface="字魂111号-金榜招牌体" panose="00000500000000000000" pitchFamily="2" charset="-122"/>
              <a:ea typeface="字魂111号-金榜招牌体" panose="00000500000000000000" pitchFamily="2" charset="-12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冷启动</a:t>
            </a: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140C6D7-CC50-86B3-EE2B-E697D8E211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5923" y="1154240"/>
            <a:ext cx="5042278" cy="52926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7707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248" y="393401"/>
            <a:ext cx="10850563" cy="1028699"/>
          </a:xfrm>
        </p:spPr>
        <p:txBody>
          <a:bodyPr/>
          <a:lstStyle/>
          <a:p>
            <a:r>
              <a:rPr lang="zh-CN" altLang="en-US" dirty="0"/>
              <a:t>消融实验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E90BC7A-C4A0-01E2-33BE-A0C6555FBA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5755" y="1422100"/>
            <a:ext cx="9222303" cy="47315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691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248" y="393401"/>
            <a:ext cx="10850563" cy="1028699"/>
          </a:xfrm>
        </p:spPr>
        <p:txBody>
          <a:bodyPr/>
          <a:lstStyle/>
          <a:p>
            <a:r>
              <a:rPr lang="zh-CN" altLang="en-US" dirty="0"/>
              <a:t>参数实验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4B68E89C-C77C-E91B-C07B-843D1D146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0408" y="1091052"/>
            <a:ext cx="4254567" cy="5480459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D3CFD959-4C62-4F35-00C3-9D0D2A6BD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2069" y="1091052"/>
            <a:ext cx="4229742" cy="566273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148A6978-EBA1-EBC9-1782-8BDBE969C9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5035" y="2197978"/>
            <a:ext cx="8020050" cy="29622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2569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248" y="393401"/>
            <a:ext cx="10850563" cy="1028699"/>
          </a:xfrm>
        </p:spPr>
        <p:txBody>
          <a:bodyPr/>
          <a:lstStyle/>
          <a:p>
            <a:r>
              <a:rPr lang="zh-CN" altLang="en-US" dirty="0"/>
              <a:t>不同模态对于推荐的贡献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BA9EDAA-B6A8-EA6A-CD59-5A1B09F99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7503" y="1933906"/>
            <a:ext cx="6060757" cy="33717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92899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1îḑ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ṧ1îḑ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şľíḓ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s1iďê"/>
          <p:cNvSpPr>
            <a:spLocks noGrp="1"/>
          </p:cNvSpPr>
          <p:nvPr>
            <p:ph type="ctrTitle"/>
          </p:nvPr>
        </p:nvSpPr>
        <p:spPr>
          <a:xfrm>
            <a:off x="593054" y="2503334"/>
            <a:ext cx="10845798" cy="1621509"/>
          </a:xfrm>
        </p:spPr>
        <p:txBody>
          <a:bodyPr/>
          <a:lstStyle/>
          <a:p>
            <a:pPr algn="ctr"/>
            <a:r>
              <a:rPr lang="en-US" altLang="zh-CN" sz="6000" dirty="0">
                <a:solidFill>
                  <a:schemeClr val="accent1"/>
                </a:solidFill>
              </a:rPr>
              <a:t>THANK</a:t>
            </a:r>
            <a:r>
              <a:rPr lang="en-US" altLang="zh-CN" sz="100" dirty="0">
                <a:solidFill>
                  <a:schemeClr val="accent1"/>
                </a:solidFill>
              </a:rPr>
              <a:t> </a:t>
            </a:r>
            <a:r>
              <a:rPr lang="en-US" altLang="zh-CN" sz="6000" dirty="0">
                <a:solidFill>
                  <a:schemeClr val="accent1"/>
                </a:solidFill>
              </a:rPr>
              <a:t>S</a:t>
            </a:r>
            <a:br>
              <a:rPr lang="en-US" altLang="zh-CN" dirty="0"/>
            </a:br>
            <a:endParaRPr lang="zh-CN" altLang="en-US" b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动机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r>
              <a:rPr lang="zh-CN" altLang="en-US" sz="100"/>
              <a:t> </a:t>
            </a:r>
          </a:p>
        </p:txBody>
      </p:sp>
      <p:sp>
        <p:nvSpPr>
          <p:cNvPr id="13" name="ïsḻïḑè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429120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4" name="islïḑ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719855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5" name="iSļiďé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0104631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iṡḻïḓ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574551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865159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283943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0DA5D74-9C4D-61E5-8D92-FA44704A6E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783" y="2041408"/>
            <a:ext cx="6294871" cy="3061791"/>
          </a:xfrm>
          <a:prstGeom prst="rect">
            <a:avLst/>
          </a:prstGeom>
        </p:spPr>
      </p:pic>
      <p:sp>
        <p:nvSpPr>
          <p:cNvPr id="8" name="菱形 7">
            <a:extLst>
              <a:ext uri="{FF2B5EF4-FFF2-40B4-BE49-F238E27FC236}">
                <a16:creationId xmlns:a16="http://schemas.microsoft.com/office/drawing/2014/main" id="{53D3C21C-8C54-2761-B659-173FC771320B}"/>
              </a:ext>
            </a:extLst>
          </p:cNvPr>
          <p:cNvSpPr/>
          <p:nvPr/>
        </p:nvSpPr>
        <p:spPr>
          <a:xfrm>
            <a:off x="6931673" y="2682231"/>
            <a:ext cx="254643" cy="206381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菱形 8">
            <a:extLst>
              <a:ext uri="{FF2B5EF4-FFF2-40B4-BE49-F238E27FC236}">
                <a16:creationId xmlns:a16="http://schemas.microsoft.com/office/drawing/2014/main" id="{1CF47A51-4F23-D7CF-E3E9-58CF827CAE01}"/>
              </a:ext>
            </a:extLst>
          </p:cNvPr>
          <p:cNvSpPr/>
          <p:nvPr/>
        </p:nvSpPr>
        <p:spPr>
          <a:xfrm>
            <a:off x="6915794" y="4335762"/>
            <a:ext cx="254643" cy="206381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BA6FCFD4-675A-38D5-3225-2E04E2E34DAE}"/>
              </a:ext>
            </a:extLst>
          </p:cNvPr>
          <p:cNvSpPr txBox="1"/>
          <p:nvPr/>
        </p:nvSpPr>
        <p:spPr>
          <a:xfrm>
            <a:off x="7364393" y="2600754"/>
            <a:ext cx="44104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现有工作无法完全建模物品与物品间关系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AF4AC79-489E-7175-825D-A96E271E6838}"/>
              </a:ext>
            </a:extLst>
          </p:cNvPr>
          <p:cNvSpPr txBox="1"/>
          <p:nvPr/>
        </p:nvSpPr>
        <p:spPr>
          <a:xfrm>
            <a:off x="7170436" y="4264624"/>
            <a:ext cx="49135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大多数现有尝试忽略了物品级别的多模态融合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5212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型框架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r>
              <a:rPr lang="zh-CN" altLang="en-US" sz="100"/>
              <a:t> </a:t>
            </a:r>
          </a:p>
        </p:txBody>
      </p:sp>
      <p:sp>
        <p:nvSpPr>
          <p:cNvPr id="13" name="ïsḻïḑè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429120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4" name="islïḑ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719855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5" name="iSļiďé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0104631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iṡḻïḓ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574551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865159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283943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9EB2C16-85B7-3B11-7EFE-4269402BD0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0285"/>
          <a:stretch/>
        </p:blipFill>
        <p:spPr>
          <a:xfrm>
            <a:off x="1235128" y="1818627"/>
            <a:ext cx="9720154" cy="37071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3139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态感知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641412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A7CEDC1-386D-9431-6035-98669EEBD7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8290" b="20285"/>
          <a:stretch/>
        </p:blipFill>
        <p:spPr>
          <a:xfrm>
            <a:off x="1425712" y="1489320"/>
            <a:ext cx="3464194" cy="4166553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866F94EB-DF51-1FB2-3609-C6F4A5A8EEB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6683"/>
          <a:stretch/>
        </p:blipFill>
        <p:spPr>
          <a:xfrm>
            <a:off x="5485121" y="1489320"/>
            <a:ext cx="5829008" cy="91329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7853804C-0FC9-A9A8-61E9-AF71FA978B5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4977" b="30023"/>
          <a:stretch/>
        </p:blipFill>
        <p:spPr>
          <a:xfrm>
            <a:off x="5706920" y="2442652"/>
            <a:ext cx="5829008" cy="1028699"/>
          </a:xfrm>
          <a:prstGeom prst="rect">
            <a:avLst/>
          </a:prstGeom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FE1027BC-8576-E7C2-40E7-9189180B00C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4005"/>
          <a:stretch/>
        </p:blipFill>
        <p:spPr>
          <a:xfrm>
            <a:off x="5883623" y="3682036"/>
            <a:ext cx="5829008" cy="411156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BEAA3167-9FBA-189E-CF6D-5FFEEBF579A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9312"/>
          <a:stretch/>
        </p:blipFill>
        <p:spPr>
          <a:xfrm>
            <a:off x="5691479" y="5323616"/>
            <a:ext cx="5769619" cy="700674"/>
          </a:xfrm>
          <a:prstGeom prst="rect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:a16="http://schemas.microsoft.com/office/drawing/2014/main" id="{A10252D7-CF98-234B-6049-74963B8687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89705"/>
          <a:stretch/>
        </p:blipFill>
        <p:spPr>
          <a:xfrm>
            <a:off x="5691479" y="4406863"/>
            <a:ext cx="5829008" cy="6819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60468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自注意力模块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C977536-61B7-8BD2-161A-A80FA36D12C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664" r="44718" b="20285"/>
          <a:stretch/>
        </p:blipFill>
        <p:spPr>
          <a:xfrm>
            <a:off x="1798320" y="1793855"/>
            <a:ext cx="2295750" cy="370714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8B67EEF-CDCA-8716-6156-311C91A5B5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1544" y="3133461"/>
            <a:ext cx="3152775" cy="7905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02784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取模态共享信息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00F61A8-680B-159B-5D2A-48A5248D4A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5895" r="28203" b="20285"/>
          <a:stretch/>
        </p:blipFill>
        <p:spPr>
          <a:xfrm>
            <a:off x="1787324" y="1781009"/>
            <a:ext cx="1545717" cy="370714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A59F216F-6114-F531-236B-39860AAD5E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205" y="2824813"/>
            <a:ext cx="3133725" cy="80010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7773CB2A-CE66-E25B-F149-7E70B14FE7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29845" y="3633137"/>
            <a:ext cx="4324350" cy="93345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EC0459E0-016F-6245-BD9E-E39F5166A4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6383" y="4643435"/>
            <a:ext cx="6391275" cy="1343025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135681B1-A3B5-18B7-6821-B2C14689BD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575" b="-8394"/>
          <a:stretch/>
        </p:blipFill>
        <p:spPr>
          <a:xfrm>
            <a:off x="5338634" y="1853208"/>
            <a:ext cx="4537505" cy="7227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6502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取模态独特信息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881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FB41917-1701-A194-FF0F-6C928C14BA8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5895" r="28203" b="20285"/>
          <a:stretch/>
        </p:blipFill>
        <p:spPr>
          <a:xfrm>
            <a:off x="1787324" y="1781009"/>
            <a:ext cx="1545717" cy="370714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79E1F31-E22B-CA8D-C05E-CBD23F9F14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7000"/>
          <a:stretch/>
        </p:blipFill>
        <p:spPr>
          <a:xfrm>
            <a:off x="4482884" y="1588777"/>
            <a:ext cx="6579031" cy="89154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43A1BE2B-2EC8-D366-333A-19B23EE4016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1111" b="53889"/>
          <a:stretch/>
        </p:blipFill>
        <p:spPr>
          <a:xfrm>
            <a:off x="4482884" y="2670538"/>
            <a:ext cx="6579031" cy="1028699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F36C83D-7F91-5702-8B08-DE361BC0A0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6889" b="22111"/>
          <a:stretch/>
        </p:blipFill>
        <p:spPr>
          <a:xfrm>
            <a:off x="4941456" y="3825083"/>
            <a:ext cx="6579031" cy="75438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FC8E98A6-5C91-0972-8A87-ED1BD6798C6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3391"/>
          <a:stretch/>
        </p:blipFill>
        <p:spPr>
          <a:xfrm>
            <a:off x="4819116" y="4823469"/>
            <a:ext cx="6579031" cy="4532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5306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联合</a:t>
            </a:r>
            <a:r>
              <a:rPr lang="en-US" altLang="zh-CN" dirty="0"/>
              <a:t>CF</a:t>
            </a:r>
            <a:r>
              <a:rPr lang="zh-CN" altLang="en-US" dirty="0"/>
              <a:t>模型与训练</a:t>
            </a: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B1144F0-7356-AA2D-1254-2EF416B2BE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6565" y="1966543"/>
            <a:ext cx="2779395" cy="874024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9437A1E-7605-C6BE-6F2C-CF8FA0BEB49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6111"/>
          <a:stretch/>
        </p:blipFill>
        <p:spPr>
          <a:xfrm>
            <a:off x="5852449" y="2851085"/>
            <a:ext cx="4687625" cy="89547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A3D7C776-431F-D4EE-9FF3-1743AAC4849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725" b="39386"/>
          <a:stretch/>
        </p:blipFill>
        <p:spPr>
          <a:xfrm>
            <a:off x="5852449" y="3935886"/>
            <a:ext cx="4780391" cy="91319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A40D6926-2C72-BD31-33B5-418CBC6DA42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222"/>
          <a:stretch/>
        </p:blipFill>
        <p:spPr>
          <a:xfrm>
            <a:off x="5756328" y="5023915"/>
            <a:ext cx="4868891" cy="520858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E09A0E39-BE28-889A-C18D-56553A13196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1175" b="20285"/>
          <a:stretch/>
        </p:blipFill>
        <p:spPr>
          <a:xfrm>
            <a:off x="2461260" y="2082313"/>
            <a:ext cx="2801882" cy="37071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9250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DC18143-2A56-C1F7-A3A6-7D5FA4A0A3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1315" y="1206044"/>
            <a:ext cx="6669405" cy="155908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FF72EDA-F8AB-A91B-CBA7-90588AB3C2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9617" y="2846070"/>
            <a:ext cx="11137583" cy="36817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484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"/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FE5A2C"/>
      </a:accent2>
      <a:accent3>
        <a:srgbClr val="5063F8"/>
      </a:accent3>
      <a:accent4>
        <a:srgbClr val="A6B3CB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6</TotalTime>
  <Words>967</Words>
  <Application>Microsoft Office PowerPoint</Application>
  <PresentationFormat>宽屏</PresentationFormat>
  <Paragraphs>61</Paragraphs>
  <Slides>14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1" baseType="lpstr">
      <vt:lpstr>等线</vt:lpstr>
      <vt:lpstr>微软雅黑</vt:lpstr>
      <vt:lpstr>字魂111号-金榜招牌体</vt:lpstr>
      <vt:lpstr>Arial</vt:lpstr>
      <vt:lpstr>Calibri</vt:lpstr>
      <vt:lpstr>主题5</vt:lpstr>
      <vt:lpstr>think-cell Slide</vt:lpstr>
      <vt:lpstr>              MICRO：Latent Structure Mining with Contrastive Modality Fusion for Multimedia Recommendation</vt:lpstr>
      <vt:lpstr>动机</vt:lpstr>
      <vt:lpstr>模型框架</vt:lpstr>
      <vt:lpstr>模态感知</vt:lpstr>
      <vt:lpstr>自注意力模块</vt:lpstr>
      <vt:lpstr>提取模态共享信息</vt:lpstr>
      <vt:lpstr>提取模态独特信息</vt:lpstr>
      <vt:lpstr>联合CF模型与训练</vt:lpstr>
      <vt:lpstr>实验</vt:lpstr>
      <vt:lpstr>冷启动</vt:lpstr>
      <vt:lpstr>消融实验 </vt:lpstr>
      <vt:lpstr>参数实验 </vt:lpstr>
      <vt:lpstr>不同模态对于推荐的贡献 </vt:lpstr>
      <vt:lpstr>THANK 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li</cp:lastModifiedBy>
  <cp:revision>49</cp:revision>
  <cp:lastPrinted>2020-09-09T16:00:00Z</cp:lastPrinted>
  <dcterms:created xsi:type="dcterms:W3CDTF">2020-09-09T16:00:00Z</dcterms:created>
  <dcterms:modified xsi:type="dcterms:W3CDTF">2023-03-11T10:3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5c129978-1ed4-4bff-bbf1-0348d1a75716</vt:lpwstr>
  </property>
</Properties>
</file>